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4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sldIdLst>
    <p:sldId id="2147483535" r:id="rId5"/>
    <p:sldId id="2147483531" r:id="rId6"/>
    <p:sldId id="2147483539" r:id="rId7"/>
    <p:sldId id="2147483536" r:id="rId8"/>
    <p:sldId id="2147483537" r:id="rId9"/>
    <p:sldId id="2147483540" r:id="rId10"/>
    <p:sldId id="2147483541" r:id="rId11"/>
  </p:sldIdLst>
  <p:sldSz cx="12192000" cy="6858000"/>
  <p:notesSz cx="6797675" cy="9926638"/>
  <p:custDataLst>
    <p:tags r:id="rId13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85FBB2-449E-4C39-B757-CD1F15643372}" v="1" dt="2025-05-22T07:30:52.657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64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gh, Saurabh" userId="f070277a-f207-4a37-b703-28b59231ffa2" providerId="ADAL" clId="{DB85FBB2-449E-4C39-B757-CD1F15643372}"/>
    <pc:docChg chg="addSld modSld">
      <pc:chgData name="Singh, Saurabh" userId="f070277a-f207-4a37-b703-28b59231ffa2" providerId="ADAL" clId="{DB85FBB2-449E-4C39-B757-CD1F15643372}" dt="2025-05-22T07:30:52.657" v="0"/>
      <pc:docMkLst>
        <pc:docMk/>
      </pc:docMkLst>
      <pc:sldChg chg="add">
        <pc:chgData name="Singh, Saurabh" userId="f070277a-f207-4a37-b703-28b59231ffa2" providerId="ADAL" clId="{DB85FBB2-449E-4C39-B757-CD1F15643372}" dt="2025-05-22T07:30:52.657" v="0"/>
        <pc:sldMkLst>
          <pc:docMk/>
          <pc:sldMk cId="2132171258" sldId="2147483540"/>
        </pc:sldMkLst>
      </pc:sldChg>
      <pc:sldChg chg="add">
        <pc:chgData name="Singh, Saurabh" userId="f070277a-f207-4a37-b703-28b59231ffa2" providerId="ADAL" clId="{DB85FBB2-449E-4C39-B757-CD1F15643372}" dt="2025-05-22T07:30:52.657" v="0"/>
        <pc:sldMkLst>
          <pc:docMk/>
          <pc:sldMk cId="3344490201" sldId="214748354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B498E-4C83-4DC3-9A00-7FC74F9F5D6C}" type="datetimeFigureOut">
              <a:rPr lang="en-US" smtClean="0"/>
              <a:t>5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A6E28-55C1-42B2-A996-3EFCBA07F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90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974784-583F-4489-B969-EF3A124BB7C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834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4657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39990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047A61-CFC6-4D11-8AB8-FAFC8C770B1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28192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D11C9F-58E7-4BBA-B835-DF3D918F6B5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201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int feb12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9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8.jpeg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20" Type="http://schemas.openxmlformats.org/officeDocument/2006/relationships/image" Target="../media/image11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15" Type="http://schemas.openxmlformats.org/officeDocument/2006/relationships/image" Target="../media/image6.emf"/><Relationship Id="rId10" Type="http://schemas.openxmlformats.org/officeDocument/2006/relationships/tags" Target="../tags/tag12.xml"/><Relationship Id="rId19" Type="http://schemas.openxmlformats.org/officeDocument/2006/relationships/image" Target="../media/image10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12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6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7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image" Target="../media/image15.emf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6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26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1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image" Target="../media/image19.emf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tags" Target="../tags/tag33.xml"/><Relationship Id="rId21" Type="http://schemas.openxmlformats.org/officeDocument/2006/relationships/image" Target="../media/image27.png"/><Relationship Id="rId7" Type="http://schemas.openxmlformats.org/officeDocument/2006/relationships/tags" Target="../tags/tag37.xml"/><Relationship Id="rId12" Type="http://schemas.openxmlformats.org/officeDocument/2006/relationships/image" Target="../media/image18.emf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tags" Target="../tags/tag32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29" Type="http://schemas.openxmlformats.org/officeDocument/2006/relationships/image" Target="../media/image35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oleObject" Target="../embeddings/oleObject3.bin"/><Relationship Id="rId24" Type="http://schemas.openxmlformats.org/officeDocument/2006/relationships/image" Target="../media/image30.png"/><Relationship Id="rId5" Type="http://schemas.openxmlformats.org/officeDocument/2006/relationships/tags" Target="../tags/tag35.xml"/><Relationship Id="rId15" Type="http://schemas.openxmlformats.org/officeDocument/2006/relationships/image" Target="../media/image21.emf"/><Relationship Id="rId23" Type="http://schemas.openxmlformats.org/officeDocument/2006/relationships/image" Target="../media/image29.png"/><Relationship Id="rId28" Type="http://schemas.openxmlformats.org/officeDocument/2006/relationships/image" Target="../media/image34.png"/><Relationship Id="rId10" Type="http://schemas.openxmlformats.org/officeDocument/2006/relationships/notesSlide" Target="../notesSlides/notesSlide4.xml"/><Relationship Id="rId19" Type="http://schemas.openxmlformats.org/officeDocument/2006/relationships/image" Target="../media/image25.png"/><Relationship Id="rId4" Type="http://schemas.openxmlformats.org/officeDocument/2006/relationships/tags" Target="../tags/tag3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20.emf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tags" Target="../tags/tag41.xml"/><Relationship Id="rId7" Type="http://schemas.openxmlformats.org/officeDocument/2006/relationships/image" Target="../media/image36.emf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tags" Target="../tags/tag40.xml"/><Relationship Id="rId16" Type="http://schemas.openxmlformats.org/officeDocument/2006/relationships/image" Target="../media/image45.png"/><Relationship Id="rId1" Type="http://schemas.openxmlformats.org/officeDocument/2006/relationships/tags" Target="../tags/tag3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0.png"/><Relationship Id="rId5" Type="http://schemas.openxmlformats.org/officeDocument/2006/relationships/tags" Target="../tags/tag43.xml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tags" Target="../tags/tag42.xml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3" Type="http://schemas.openxmlformats.org/officeDocument/2006/relationships/tags" Target="../tags/tag46.xml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58.png"/><Relationship Id="rId10" Type="http://schemas.openxmlformats.org/officeDocument/2006/relationships/image" Target="../media/image53.png"/><Relationship Id="rId4" Type="http://schemas.openxmlformats.org/officeDocument/2006/relationships/tags" Target="../tags/tag47.xml"/><Relationship Id="rId9" Type="http://schemas.openxmlformats.org/officeDocument/2006/relationships/image" Target="../media/image52.jpeg"/><Relationship Id="rId14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image" Target="../media/image61.emf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image" Target="../media/image60.emf"/><Relationship Id="rId2" Type="http://schemas.openxmlformats.org/officeDocument/2006/relationships/tags" Target="../tags/tag49.xml"/><Relationship Id="rId16" Type="http://schemas.openxmlformats.org/officeDocument/2006/relationships/image" Target="../media/image59.emf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5" Type="http://schemas.openxmlformats.org/officeDocument/2006/relationships/notesSlide" Target="../notesSlides/notesSlide5.xml"/><Relationship Id="rId10" Type="http://schemas.openxmlformats.org/officeDocument/2006/relationships/tags" Target="../tags/tag57.xml"/><Relationship Id="rId19" Type="http://schemas.openxmlformats.org/officeDocument/2006/relationships/image" Target="../media/image58.png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A80DD0-1A0E-490A-8692-012F5A8E63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A80DD0-1A0E-490A-8692-012F5A8E6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B57AC39F-8421-4479-8EC8-E266941F5AF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3" name="btfpColumnGapBlocker151186">
              <a:extLst>
                <a:ext uri="{FF2B5EF4-FFF2-40B4-BE49-F238E27FC236}">
                  <a16:creationId xmlns:a16="http://schemas.microsoft.com/office/drawing/2014/main" id="{D2A2B424-A8CB-47FC-8440-9B3C2B586B8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1" name="btfpColumnGapBlocker942229">
              <a:extLst>
                <a:ext uri="{FF2B5EF4-FFF2-40B4-BE49-F238E27FC236}">
                  <a16:creationId xmlns:a16="http://schemas.microsoft.com/office/drawing/2014/main" id="{3238A90C-2C90-47B2-A9D1-85CA4CE3572C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768938">
              <a:extLst>
                <a:ext uri="{FF2B5EF4-FFF2-40B4-BE49-F238E27FC236}">
                  <a16:creationId xmlns:a16="http://schemas.microsoft.com/office/drawing/2014/main" id="{7B284A95-C54D-468F-8C0E-D1653CEC8BE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916224">
              <a:extLst>
                <a:ext uri="{FF2B5EF4-FFF2-40B4-BE49-F238E27FC236}">
                  <a16:creationId xmlns:a16="http://schemas.microsoft.com/office/drawing/2014/main" id="{ED6C0D25-5ED9-4A3B-894B-7C35F113980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btfpColumnGapBlocker464640">
              <a:extLst>
                <a:ext uri="{FF2B5EF4-FFF2-40B4-BE49-F238E27FC236}">
                  <a16:creationId xmlns:a16="http://schemas.microsoft.com/office/drawing/2014/main" id="{4B91F029-1878-498C-971E-8DEE98F90CE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187284">
              <a:extLst>
                <a:ext uri="{FF2B5EF4-FFF2-40B4-BE49-F238E27FC236}">
                  <a16:creationId xmlns:a16="http://schemas.microsoft.com/office/drawing/2014/main" id="{EEFEEB8A-1B15-47CC-BA6B-36AA8AF230A6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827773">
              <a:extLst>
                <a:ext uri="{FF2B5EF4-FFF2-40B4-BE49-F238E27FC236}">
                  <a16:creationId xmlns:a16="http://schemas.microsoft.com/office/drawing/2014/main" id="{5B818F88-C7F5-4F93-9413-D53A6429CD0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btfpColumnIndicatorGroup1">
            <a:extLst>
              <a:ext uri="{FF2B5EF4-FFF2-40B4-BE49-F238E27FC236}">
                <a16:creationId xmlns:a16="http://schemas.microsoft.com/office/drawing/2014/main" id="{A8612F74-D8F9-45D9-9D10-A8B6C5111E4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2" name="btfpColumnGapBlocker400274">
              <a:extLst>
                <a:ext uri="{FF2B5EF4-FFF2-40B4-BE49-F238E27FC236}">
                  <a16:creationId xmlns:a16="http://schemas.microsoft.com/office/drawing/2014/main" id="{075B68EC-DBCA-4099-9389-513F676886D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0" name="btfpColumnGapBlocker198024">
              <a:extLst>
                <a:ext uri="{FF2B5EF4-FFF2-40B4-BE49-F238E27FC236}">
                  <a16:creationId xmlns:a16="http://schemas.microsoft.com/office/drawing/2014/main" id="{47DE58F1-3C18-4937-97BF-DA6EF89F7508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642087">
              <a:extLst>
                <a:ext uri="{FF2B5EF4-FFF2-40B4-BE49-F238E27FC236}">
                  <a16:creationId xmlns:a16="http://schemas.microsoft.com/office/drawing/2014/main" id="{AB53A3F3-6504-46E2-A921-862E9E5249D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796396">
              <a:extLst>
                <a:ext uri="{FF2B5EF4-FFF2-40B4-BE49-F238E27FC236}">
                  <a16:creationId xmlns:a16="http://schemas.microsoft.com/office/drawing/2014/main" id="{5B0BD94F-FC99-4B1B-858F-03DD3EA2737D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btfpColumnGapBlocker164694">
              <a:extLst>
                <a:ext uri="{FF2B5EF4-FFF2-40B4-BE49-F238E27FC236}">
                  <a16:creationId xmlns:a16="http://schemas.microsoft.com/office/drawing/2014/main" id="{3B98C8C5-C272-43A5-BFFA-C009C49093C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2" name="btfpColumnIndicator528143">
              <a:extLst>
                <a:ext uri="{FF2B5EF4-FFF2-40B4-BE49-F238E27FC236}">
                  <a16:creationId xmlns:a16="http://schemas.microsoft.com/office/drawing/2014/main" id="{62E52431-DF09-47F8-8944-F338734C810B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316540">
              <a:extLst>
                <a:ext uri="{FF2B5EF4-FFF2-40B4-BE49-F238E27FC236}">
                  <a16:creationId xmlns:a16="http://schemas.microsoft.com/office/drawing/2014/main" id="{56EE42A2-2C27-4FD5-981D-BC8B414D58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ainBulletsConfiguration" hidden="1"/>
          <p:cNvSpPr txBox="1"/>
          <p:nvPr/>
        </p:nvSpPr>
        <p:spPr>
          <a:xfrm>
            <a:off x="2719305" y="847731"/>
            <a:ext cx="6186650" cy="107722"/>
          </a:xfrm>
          <a:prstGeom prst="rect">
            <a:avLst/>
          </a:prstGeom>
          <a:noFill/>
        </p:spPr>
        <p:txBody>
          <a:bodyPr vert="horz" wrap="square" lIns="31818" rIns="31818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25_84 5_84 65_84 66_84 67_84 68_84 69_84 70_84 71_84 72_84 73_84 74_84 58_84 76_84</a:t>
            </a:r>
          </a:p>
        </p:txBody>
      </p:sp>
      <p:sp>
        <p:nvSpPr>
          <p:cNvPr id="2" name="btfpLayoutConfig" hidden="1"/>
          <p:cNvSpPr txBox="1"/>
          <p:nvPr/>
        </p:nvSpPr>
        <p:spPr bwMode="gray">
          <a:xfrm>
            <a:off x="1153320" y="653256"/>
            <a:ext cx="1774284" cy="74460"/>
          </a:xfrm>
          <a:prstGeom prst="rect">
            <a:avLst/>
          </a:prstGeom>
          <a:noFill/>
        </p:spPr>
        <p:txBody>
          <a:bodyPr vert="horz" wrap="none" lIns="29250" tIns="29250" rIns="29250" bIns="2925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163348573585461 columns_1_131720850809173776 56_1_131943516557675237 58_1_132071467640101448 12_0_132156153700703527 39_0_132163348565702811 18_1_132392033990359561 11_1_132428431922747730 14_1_132392033898413052 21_1_132392040552860132 26_1_132392040586007368 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Own Social Media:</a:t>
            </a:r>
            <a:r>
              <a:rPr lang="en-US" dirty="0"/>
              <a:t> On Instagram, Hunza G has a healthy audience-base; scope to improve posting frequency and reach on other platforms</a:t>
            </a:r>
          </a:p>
        </p:txBody>
      </p:sp>
      <p:pic>
        <p:nvPicPr>
          <p:cNvPr id="42" name="btfpIconLines155624">
            <a:extLst>
              <a:ext uri="{FF2B5EF4-FFF2-40B4-BE49-F238E27FC236}">
                <a16:creationId xmlns:a16="http://schemas.microsoft.com/office/drawing/2014/main" id="{9A7C7F02-B4B2-4EE2-A36B-665B4F294605}"/>
              </a:ext>
            </a:extLst>
          </p:cNvPr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0006" y="1791136"/>
            <a:ext cx="391380" cy="391380"/>
          </a:xfrm>
          <a:prstGeom prst="rect">
            <a:avLst/>
          </a:prstGeom>
        </p:spPr>
      </p:pic>
      <p:pic>
        <p:nvPicPr>
          <p:cNvPr id="40" name="btfpIconLines155624">
            <a:extLst>
              <a:ext uri="{FF2B5EF4-FFF2-40B4-BE49-F238E27FC236}">
                <a16:creationId xmlns:a16="http://schemas.microsoft.com/office/drawing/2014/main" id="{9DF2FB50-0287-4B4E-BA75-A61ED3EF6B68}"/>
              </a:ext>
            </a:extLst>
          </p:cNvPr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800" y="1238178"/>
            <a:ext cx="391380" cy="391380"/>
          </a:xfrm>
          <a:prstGeom prst="rect">
            <a:avLst/>
          </a:prstGeom>
        </p:spPr>
      </p:pic>
      <p:grpSp>
        <p:nvGrpSpPr>
          <p:cNvPr id="68" name="btfpRunningAgenda2Level462810">
            <a:extLst>
              <a:ext uri="{FF2B5EF4-FFF2-40B4-BE49-F238E27FC236}">
                <a16:creationId xmlns:a16="http://schemas.microsoft.com/office/drawing/2014/main" id="{77A5B1FB-99DD-462B-92B2-B4F2F8D4942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20754"/>
            <a:ext cx="2592725" cy="257442"/>
            <a:chOff x="0" y="876300"/>
            <a:chExt cx="2592725" cy="257442"/>
          </a:xfrm>
        </p:grpSpPr>
        <p:sp>
          <p:nvSpPr>
            <p:cNvPr id="69" name="btfpRunningAgenda2LevelBarLeft462810">
              <a:extLst>
                <a:ext uri="{FF2B5EF4-FFF2-40B4-BE49-F238E27FC236}">
                  <a16:creationId xmlns:a16="http://schemas.microsoft.com/office/drawing/2014/main" id="{302599CB-B14C-419D-9F4C-B3092D5220B5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2093550 w 2093550"/>
                <a:gd name="connsiteY0" fmla="*/ 0 h 257442"/>
                <a:gd name="connsiteX1" fmla="*/ 14026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233203 w 2233203"/>
                <a:gd name="connsiteY0" fmla="*/ 0 h 257442"/>
                <a:gd name="connsiteX1" fmla="*/ 2038829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3401216 w 3401216"/>
                <a:gd name="connsiteY0" fmla="*/ 0 h 257442"/>
                <a:gd name="connsiteX1" fmla="*/ 2178482 w 3401216"/>
                <a:gd name="connsiteY1" fmla="*/ 257442 h 257442"/>
                <a:gd name="connsiteX2" fmla="*/ 0 w 3401216"/>
                <a:gd name="connsiteY2" fmla="*/ 257442 h 257442"/>
                <a:gd name="connsiteX3" fmla="*/ 0 w 3401216"/>
                <a:gd name="connsiteY3" fmla="*/ 0 h 257442"/>
                <a:gd name="connsiteX0" fmla="*/ 3401216 w 3401216"/>
                <a:gd name="connsiteY0" fmla="*/ 0 h 257442"/>
                <a:gd name="connsiteX1" fmla="*/ 3346494 w 3401216"/>
                <a:gd name="connsiteY1" fmla="*/ 257442 h 257442"/>
                <a:gd name="connsiteX2" fmla="*/ 0 w 3401216"/>
                <a:gd name="connsiteY2" fmla="*/ 257442 h 257442"/>
                <a:gd name="connsiteX3" fmla="*/ 0 w 3401216"/>
                <a:gd name="connsiteY3" fmla="*/ 0 h 257442"/>
                <a:gd name="connsiteX0" fmla="*/ 3401217 w 3401217"/>
                <a:gd name="connsiteY0" fmla="*/ 0 h 257442"/>
                <a:gd name="connsiteX1" fmla="*/ 3346495 w 3401217"/>
                <a:gd name="connsiteY1" fmla="*/ 257442 h 257442"/>
                <a:gd name="connsiteX2" fmla="*/ 0 w 3401217"/>
                <a:gd name="connsiteY2" fmla="*/ 257442 h 257442"/>
                <a:gd name="connsiteX3" fmla="*/ 1 w 3401217"/>
                <a:gd name="connsiteY3" fmla="*/ 0 h 257442"/>
                <a:gd name="connsiteX0" fmla="*/ 3401217 w 3401217"/>
                <a:gd name="connsiteY0" fmla="*/ 0 h 257442"/>
                <a:gd name="connsiteX1" fmla="*/ 3346495 w 3401217"/>
                <a:gd name="connsiteY1" fmla="*/ 257442 h 257442"/>
                <a:gd name="connsiteX2" fmla="*/ 0 w 3401217"/>
                <a:gd name="connsiteY2" fmla="*/ 257442 h 257442"/>
                <a:gd name="connsiteX3" fmla="*/ 1 w 3401217"/>
                <a:gd name="connsiteY3" fmla="*/ 0 h 257442"/>
                <a:gd name="connsiteX0" fmla="*/ 942787 w 3346495"/>
                <a:gd name="connsiteY0" fmla="*/ 0 h 257442"/>
                <a:gd name="connsiteX1" fmla="*/ 3346495 w 3346495"/>
                <a:gd name="connsiteY1" fmla="*/ 257442 h 257442"/>
                <a:gd name="connsiteX2" fmla="*/ 0 w 3346495"/>
                <a:gd name="connsiteY2" fmla="*/ 257442 h 257442"/>
                <a:gd name="connsiteX3" fmla="*/ 1 w 3346495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0 w 942787"/>
                <a:gd name="connsiteY2" fmla="*/ 257442 h 257442"/>
                <a:gd name="connsiteX3" fmla="*/ 1 w 942787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1 w 942787"/>
                <a:gd name="connsiteY2" fmla="*/ 257442 h 257442"/>
                <a:gd name="connsiteX3" fmla="*/ 0 w 942787"/>
                <a:gd name="connsiteY3" fmla="*/ 0 h 257442"/>
                <a:gd name="connsiteX0" fmla="*/ 1120720 w 1120720"/>
                <a:gd name="connsiteY0" fmla="*/ 0 h 257442"/>
                <a:gd name="connsiteX1" fmla="*/ 888066 w 1120720"/>
                <a:gd name="connsiteY1" fmla="*/ 257442 h 257442"/>
                <a:gd name="connsiteX2" fmla="*/ 1 w 1120720"/>
                <a:gd name="connsiteY2" fmla="*/ 257442 h 257442"/>
                <a:gd name="connsiteX3" fmla="*/ 0 w 1120720"/>
                <a:gd name="connsiteY3" fmla="*/ 0 h 257442"/>
                <a:gd name="connsiteX0" fmla="*/ 1120720 w 1120720"/>
                <a:gd name="connsiteY0" fmla="*/ 0 h 257442"/>
                <a:gd name="connsiteX1" fmla="*/ 1065998 w 1120720"/>
                <a:gd name="connsiteY1" fmla="*/ 257442 h 257442"/>
                <a:gd name="connsiteX2" fmla="*/ 1 w 1120720"/>
                <a:gd name="connsiteY2" fmla="*/ 257442 h 257442"/>
                <a:gd name="connsiteX3" fmla="*/ 0 w 1120720"/>
                <a:gd name="connsiteY3" fmla="*/ 0 h 257442"/>
                <a:gd name="connsiteX0" fmla="*/ 1120720 w 1120720"/>
                <a:gd name="connsiteY0" fmla="*/ 0 h 257442"/>
                <a:gd name="connsiteX1" fmla="*/ 1065998 w 1120720"/>
                <a:gd name="connsiteY1" fmla="*/ 257442 h 257442"/>
                <a:gd name="connsiteX2" fmla="*/ 0 w 1120720"/>
                <a:gd name="connsiteY2" fmla="*/ 257442 h 257442"/>
                <a:gd name="connsiteX3" fmla="*/ 0 w 1120720"/>
                <a:gd name="connsiteY3" fmla="*/ 0 h 257442"/>
                <a:gd name="connsiteX0" fmla="*/ 1120720 w 1120720"/>
                <a:gd name="connsiteY0" fmla="*/ 0 h 257442"/>
                <a:gd name="connsiteX1" fmla="*/ 1065998 w 1120720"/>
                <a:gd name="connsiteY1" fmla="*/ 257442 h 257442"/>
                <a:gd name="connsiteX2" fmla="*/ 0 w 1120720"/>
                <a:gd name="connsiteY2" fmla="*/ 257442 h 257442"/>
                <a:gd name="connsiteX3" fmla="*/ 0 w 1120720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390024 w 1390024"/>
                <a:gd name="connsiteY0" fmla="*/ 0 h 257442"/>
                <a:gd name="connsiteX1" fmla="*/ 123431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558339 w 1558339"/>
                <a:gd name="connsiteY0" fmla="*/ 0 h 257442"/>
                <a:gd name="connsiteX1" fmla="*/ 1335303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1" name="btfpRunningAgenda2LevelTextLeft462810">
              <a:extLst>
                <a:ext uri="{FF2B5EF4-FFF2-40B4-BE49-F238E27FC236}">
                  <a16:creationId xmlns:a16="http://schemas.microsoft.com/office/drawing/2014/main" id="{102A8268-F3FC-43AD-AEA3-F1BE8A338A25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Social media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3489AA2-4DFE-3EDF-FC64-9D858BAD049F}"/>
              </a:ext>
            </a:extLst>
          </p:cNvPr>
          <p:cNvGrpSpPr/>
          <p:nvPr/>
        </p:nvGrpSpPr>
        <p:grpSpPr>
          <a:xfrm>
            <a:off x="372428" y="1730987"/>
            <a:ext cx="1109953" cy="4589531"/>
            <a:chOff x="372428" y="1730987"/>
            <a:chExt cx="1109953" cy="4589531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A19CB5F-48BE-0B71-9085-4426DEDB6946}"/>
                </a:ext>
              </a:extLst>
            </p:cNvPr>
            <p:cNvGrpSpPr/>
            <p:nvPr/>
          </p:nvGrpSpPr>
          <p:grpSpPr>
            <a:xfrm>
              <a:off x="372428" y="1730987"/>
              <a:ext cx="1109953" cy="4589531"/>
              <a:chOff x="372428" y="1730987"/>
              <a:chExt cx="1109953" cy="4589531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DD734711-8A50-FFAC-2980-AB99790AB6E8}"/>
                  </a:ext>
                </a:extLst>
              </p:cNvPr>
              <p:cNvGrpSpPr/>
              <p:nvPr>
                <p:custDataLst>
                  <p:tags r:id="rId5"/>
                </p:custDataLst>
              </p:nvPr>
            </p:nvGrpSpPr>
            <p:grpSpPr>
              <a:xfrm>
                <a:off x="372428" y="1730987"/>
                <a:ext cx="1109953" cy="3674238"/>
                <a:chOff x="1712226" y="1904961"/>
                <a:chExt cx="980424" cy="3334234"/>
              </a:xfrm>
            </p:grpSpPr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804F8162-E94C-B0B3-0C64-316EA8CBB87C}"/>
                    </a:ext>
                  </a:extLst>
                </p:cNvPr>
                <p:cNvSpPr txBox="1"/>
                <p:nvPr>
                  <p:custDataLst>
                    <p:tags r:id="rId7"/>
                  </p:custDataLst>
                </p:nvPr>
              </p:nvSpPr>
              <p:spPr>
                <a:xfrm>
                  <a:off x="1712226" y="3571498"/>
                  <a:ext cx="980418" cy="841207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25818" tIns="25818" rIns="25818" bIns="25818" rtlCol="0" anchor="ctr">
                  <a:noAutofit/>
                </a:bodyPr>
                <a:lstStyle/>
                <a:p>
                  <a:pPr marL="0" indent="0" algn="ctr" defTabSz="703847" fontAlgn="ctr">
                    <a:spcBef>
                      <a:spcPts val="619"/>
                    </a:spcBef>
                    <a:buSzPct val="100000"/>
                    <a:buNone/>
                  </a:pPr>
                  <a:endParaRPr lang="en-US" sz="1363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A9E27339-313E-92F6-D35E-DFC7213C58DB}"/>
                    </a:ext>
                  </a:extLst>
                </p:cNvPr>
                <p:cNvSpPr txBox="1"/>
                <p:nvPr>
                  <p:custDataLst>
                    <p:tags r:id="rId8"/>
                  </p:custDataLst>
                </p:nvPr>
              </p:nvSpPr>
              <p:spPr>
                <a:xfrm>
                  <a:off x="1712226" y="1904961"/>
                  <a:ext cx="980418" cy="866534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25818" tIns="25818" rIns="25818" bIns="25818" rtlCol="0" anchor="ctr">
                  <a:noAutofit/>
                </a:bodyPr>
                <a:lstStyle/>
                <a:p>
                  <a:pPr marL="0" indent="0" algn="ctr" defTabSz="703847" fontAlgn="ctr">
                    <a:spcBef>
                      <a:spcPts val="619"/>
                    </a:spcBef>
                    <a:buSzPct val="100000"/>
                    <a:buNone/>
                  </a:pPr>
                  <a:endParaRPr lang="en-US" sz="1363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FFF99388-D195-FF21-D658-76353271CADE}"/>
                    </a:ext>
                  </a:extLst>
                </p:cNvPr>
                <p:cNvSpPr txBox="1"/>
                <p:nvPr>
                  <p:custDataLst>
                    <p:tags r:id="rId9"/>
                  </p:custDataLst>
                </p:nvPr>
              </p:nvSpPr>
              <p:spPr>
                <a:xfrm>
                  <a:off x="1712232" y="2743095"/>
                  <a:ext cx="980418" cy="834814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25818" tIns="25818" rIns="25818" bIns="25818" rtlCol="0" anchor="ctr">
                  <a:noAutofit/>
                </a:bodyPr>
                <a:lstStyle/>
                <a:p>
                  <a:pPr marL="0" indent="0" algn="ctr" defTabSz="703847" fontAlgn="ctr">
                    <a:spcBef>
                      <a:spcPts val="619"/>
                    </a:spcBef>
                    <a:buSzPct val="100000"/>
                    <a:buNone/>
                  </a:pPr>
                  <a:endParaRPr lang="en-US" sz="1363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AD63CA56-9A4E-CCEE-C9AA-A12294FDB6C4}"/>
                    </a:ext>
                  </a:extLst>
                </p:cNvPr>
                <p:cNvSpPr txBox="1"/>
                <p:nvPr>
                  <p:custDataLst>
                    <p:tags r:id="rId10"/>
                  </p:custDataLst>
                </p:nvPr>
              </p:nvSpPr>
              <p:spPr>
                <a:xfrm>
                  <a:off x="1712226" y="4406123"/>
                  <a:ext cx="980418" cy="833072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25818" tIns="25818" rIns="25818" bIns="25818" rtlCol="0" anchor="ctr">
                  <a:noAutofit/>
                </a:bodyPr>
                <a:lstStyle/>
                <a:p>
                  <a:pPr marL="0" indent="0" algn="ctr" defTabSz="703847" fontAlgn="ctr">
                    <a:spcBef>
                      <a:spcPts val="619"/>
                    </a:spcBef>
                    <a:buSzPct val="100000"/>
                    <a:buNone/>
                  </a:pPr>
                  <a:endParaRPr lang="en-US" sz="1363" b="1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78961D40-6A2B-0C3E-C486-6B08A860C0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96335" y="2042323"/>
                  <a:ext cx="361143" cy="409182"/>
                </a:xfrm>
                <a:prstGeom prst="rect">
                  <a:avLst/>
                </a:prstGeom>
              </p:spPr>
            </p:pic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7BC27D6E-F4F8-9A50-EAF9-AF85465FDD51}"/>
                    </a:ext>
                  </a:extLst>
                </p:cNvPr>
                <p:cNvSpPr txBox="1"/>
                <p:nvPr/>
              </p:nvSpPr>
              <p:spPr>
                <a:xfrm>
                  <a:off x="1838362" y="2500603"/>
                  <a:ext cx="659142" cy="191264"/>
                </a:xfrm>
                <a:prstGeom prst="rect">
                  <a:avLst/>
                </a:prstGeom>
                <a:noFill/>
              </p:spPr>
              <p:txBody>
                <a:bodyPr wrap="square" lIns="25818" tIns="25818" rIns="25818" bIns="25818" rtlCol="0">
                  <a:spAutoFit/>
                </a:bodyPr>
                <a:lstStyle/>
                <a:p>
                  <a:pPr marL="0" indent="0" algn="ctr">
                    <a:buNone/>
                  </a:pPr>
                  <a:r>
                    <a:rPr lang="en-US" sz="900" b="1"/>
                    <a:t>Facebook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1E5B6696-6DA9-FC35-D476-D329C78E732A}"/>
                    </a:ext>
                  </a:extLst>
                </p:cNvPr>
                <p:cNvSpPr txBox="1"/>
                <p:nvPr/>
              </p:nvSpPr>
              <p:spPr>
                <a:xfrm>
                  <a:off x="1861155" y="3251118"/>
                  <a:ext cx="659142" cy="191264"/>
                </a:xfrm>
                <a:prstGeom prst="rect">
                  <a:avLst/>
                </a:prstGeom>
                <a:noFill/>
              </p:spPr>
              <p:txBody>
                <a:bodyPr wrap="square" lIns="25818" tIns="25818" rIns="25818" bIns="25818" rtlCol="0">
                  <a:spAutoFit/>
                </a:bodyPr>
                <a:lstStyle/>
                <a:p>
                  <a:pPr marL="0" indent="0" algn="ctr">
                    <a:buNone/>
                  </a:pPr>
                  <a:r>
                    <a:rPr lang="en-US" sz="900" b="1"/>
                    <a:t>Instagram</a:t>
                  </a: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806C6ED4-1FEB-4E24-3631-AD54B625C404}"/>
                    </a:ext>
                  </a:extLst>
                </p:cNvPr>
                <p:cNvSpPr txBox="1"/>
                <p:nvPr/>
              </p:nvSpPr>
              <p:spPr>
                <a:xfrm>
                  <a:off x="1845023" y="4176619"/>
                  <a:ext cx="659142" cy="172999"/>
                </a:xfrm>
                <a:prstGeom prst="rect">
                  <a:avLst/>
                </a:prstGeom>
                <a:noFill/>
              </p:spPr>
              <p:txBody>
                <a:bodyPr wrap="square" lIns="25818" tIns="25818" rIns="25818" bIns="25818" rtlCol="0">
                  <a:spAutoFit/>
                </a:bodyPr>
                <a:lstStyle/>
                <a:p>
                  <a:pPr marL="0" indent="0" algn="ctr">
                    <a:buNone/>
                  </a:pPr>
                  <a:r>
                    <a:rPr lang="en-US" sz="900" b="1"/>
                    <a:t>X (Twitter)</a:t>
                  </a: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FF65EE2C-E7DE-7713-6920-21C98936A47C}"/>
                    </a:ext>
                  </a:extLst>
                </p:cNvPr>
                <p:cNvSpPr txBox="1"/>
                <p:nvPr/>
              </p:nvSpPr>
              <p:spPr>
                <a:xfrm>
                  <a:off x="1845023" y="4931091"/>
                  <a:ext cx="659142" cy="191264"/>
                </a:xfrm>
                <a:prstGeom prst="rect">
                  <a:avLst/>
                </a:prstGeom>
                <a:noFill/>
              </p:spPr>
              <p:txBody>
                <a:bodyPr wrap="square" lIns="25818" tIns="25818" rIns="25818" bIns="25818" rtlCol="0">
                  <a:spAutoFit/>
                </a:bodyPr>
                <a:lstStyle/>
                <a:p>
                  <a:pPr marL="0" indent="0" algn="ctr">
                    <a:buNone/>
                  </a:pPr>
                  <a:r>
                    <a:rPr lang="en-US" sz="900" b="1"/>
                    <a:t>YouTube</a:t>
                  </a:r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3705F61C-D51F-3DCB-8A7F-72E43840E58C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372437" y="5405280"/>
                <a:ext cx="1109944" cy="915238"/>
              </a:xfrm>
              <a:prstGeom prst="rect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  <a:effec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wrap="square" lIns="25818" tIns="25818" rIns="25818" bIns="25818" rtlCol="0" anchor="ctr">
                <a:noAutofit/>
              </a:bodyPr>
              <a:lstStyle/>
              <a:p>
                <a:pPr marL="0" indent="0" algn="ctr" defTabSz="703847" fontAlgn="ctr">
                  <a:spcBef>
                    <a:spcPts val="619"/>
                  </a:spcBef>
                  <a:buSzPct val="100000"/>
                  <a:buNone/>
                </a:pPr>
                <a:endParaRPr lang="en-US" sz="1363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899F0F4C-9D46-943D-39CA-2E50253059BD}"/>
                  </a:ext>
                </a:extLst>
              </p:cNvPr>
              <p:cNvSpPr txBox="1"/>
              <p:nvPr/>
            </p:nvSpPr>
            <p:spPr>
              <a:xfrm>
                <a:off x="514987" y="6017896"/>
                <a:ext cx="746223" cy="190640"/>
              </a:xfrm>
              <a:prstGeom prst="rect">
                <a:avLst/>
              </a:prstGeom>
              <a:noFill/>
            </p:spPr>
            <p:txBody>
              <a:bodyPr wrap="square" lIns="25818" tIns="25818" rIns="25818" bIns="25818" rtlCol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900" b="1"/>
                  <a:t>TikTok</a:t>
                </a:r>
              </a:p>
            </p:txBody>
          </p:sp>
          <p:pic>
            <p:nvPicPr>
              <p:cNvPr id="39" name="Picture 2" descr="Tiktok Logo - Free Vectors &amp; PSDs to Download">
                <a:extLst>
                  <a:ext uri="{FF2B5EF4-FFF2-40B4-BE49-F238E27FC236}">
                    <a16:creationId xmlns:a16="http://schemas.microsoft.com/office/drawing/2014/main" id="{AAC9CC1F-CD74-2203-0E83-9253C863D4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0367" y="5584589"/>
                <a:ext cx="415463" cy="4154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0" name="Picture 6">
              <a:extLst>
                <a:ext uri="{FF2B5EF4-FFF2-40B4-BE49-F238E27FC236}">
                  <a16:creationId xmlns:a16="http://schemas.microsoft.com/office/drawing/2014/main" id="{116BEFB6-8E3B-330D-DB03-B6E1B53929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734" y="4638284"/>
              <a:ext cx="549547" cy="3801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Instagram Logo - Free Vectors &amp; PSDs to Download">
              <a:extLst>
                <a:ext uri="{FF2B5EF4-FFF2-40B4-BE49-F238E27FC236}">
                  <a16:creationId xmlns:a16="http://schemas.microsoft.com/office/drawing/2014/main" id="{E751831C-3A0D-2F57-8CDB-467145F917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218" y="2768606"/>
              <a:ext cx="433108" cy="4331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84" name="Table 83">
            <a:extLst>
              <a:ext uri="{FF2B5EF4-FFF2-40B4-BE49-F238E27FC236}">
                <a16:creationId xmlns:a16="http://schemas.microsoft.com/office/drawing/2014/main" id="{8E3910C7-A074-F036-9FFE-649A59CF57DB}"/>
              </a:ext>
            </a:extLst>
          </p:cNvPr>
          <p:cNvGraphicFramePr>
            <a:graphicFrameLocks noGrp="1"/>
          </p:cNvGraphicFramePr>
          <p:nvPr/>
        </p:nvGraphicFramePr>
        <p:xfrm>
          <a:off x="1490736" y="1269611"/>
          <a:ext cx="10380587" cy="5050902"/>
        </p:xfrm>
        <a:graphic>
          <a:graphicData uri="http://schemas.openxmlformats.org/drawingml/2006/table">
            <a:tbl>
              <a:tblPr/>
              <a:tblGrid>
                <a:gridCol w="2362073">
                  <a:extLst>
                    <a:ext uri="{9D8B030D-6E8A-4147-A177-3AD203B41FA5}">
                      <a16:colId xmlns:a16="http://schemas.microsoft.com/office/drawing/2014/main" val="4205307525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3194185984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2073354395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3146917070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2791338486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1318269112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876261238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1379018559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3408663695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592899468"/>
                    </a:ext>
                  </a:extLst>
                </a:gridCol>
              </a:tblGrid>
              <a:tr h="467802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Zimmerman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MC2 Saint Bart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Seafolly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Hunza G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Melissa Odabas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Ere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Osere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eina Olg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Bond Ey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374032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E4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0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86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D6C6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414307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8C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6C6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2C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6D6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DEC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842722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C1B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737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797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9227273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(per post per 10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5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7C7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7E7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C4B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4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C8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056435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2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0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1777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C7B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5878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828837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0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2C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ACA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BC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A99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8601605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8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D6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4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82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614303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</a:t>
                      </a:r>
                      <a:r>
                        <a:rPr lang="en-US" sz="1000" b="1" i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r post per 10K)</a:t>
                      </a:r>
                      <a:endParaRPr lang="en-US" sz="1000" b="1" i="1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A89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2C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C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557604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D6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EA89D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711200" rtl="0" eaLnBrk="1" fontAlgn="t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u="none" strike="noStrike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es not have X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 rowSpan="4" gridSpan="4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1" u="none" strike="noStrike" dirty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j-lt"/>
                        </a:rPr>
                        <a:t>Do not have X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7216604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4820111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0031634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</a:t>
                      </a:r>
                      <a:r>
                        <a:rPr lang="en-US" sz="1000" b="1" i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r post per 10K)</a:t>
                      </a:r>
                      <a:endParaRPr lang="en-US" sz="1000" b="1" i="1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917319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0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6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1E8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737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0376269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9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A29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757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757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9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4507437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696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7B7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165353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</a:t>
                      </a:r>
                      <a:r>
                        <a:rPr lang="en-US" sz="1000" b="1" i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r post per 10K)</a:t>
                      </a:r>
                      <a:endParaRPr lang="en-US" sz="1000" b="1" i="1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7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7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00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7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B6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9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F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229051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5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AFA3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711200" rtl="0" eaLnBrk="1" fontAlgn="t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u="none" strike="noStrike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es not have TikTok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A19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90224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8E8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BC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7C7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696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5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36901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9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A09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CD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8F8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542703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</a:t>
                      </a:r>
                      <a:r>
                        <a:rPr lang="en-US" sz="1000" b="1" i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r post per 10K)</a:t>
                      </a:r>
                      <a:endParaRPr lang="en-US" sz="1000" b="1" i="1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8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9D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CCB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D1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5289239"/>
                  </a:ext>
                </a:extLst>
              </a:tr>
            </a:tbl>
          </a:graphicData>
        </a:graphic>
      </p:graphicFrame>
      <p:pic>
        <p:nvPicPr>
          <p:cNvPr id="5" name="Picture 4" descr="Twitter Logo and symbol, meaning, history, sign.">
            <a:extLst>
              <a:ext uri="{FF2B5EF4-FFF2-40B4-BE49-F238E27FC236}">
                <a16:creationId xmlns:a16="http://schemas.microsoft.com/office/drawing/2014/main" id="{1B574110-EBE5-3FC4-9372-E22A1E39C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783" y="3743621"/>
            <a:ext cx="713882" cy="3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tfpNotesBox868359">
            <a:extLst>
              <a:ext uri="{FF2B5EF4-FFF2-40B4-BE49-F238E27FC236}">
                <a16:creationId xmlns:a16="http://schemas.microsoft.com/office/drawing/2014/main" id="{C99A35D3-5E1C-6502-79C9-389A959D6AF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FanpageKarma; Audience as on Dec 31, 2023; Activity and Engagement for the last 12 months; Jan’23-Dec’23; Note: Engagement rate per post per 10K audience calculated as (Engagement / Activity / Audience) * 10K</a:t>
            </a:r>
          </a:p>
        </p:txBody>
      </p:sp>
      <p:sp>
        <p:nvSpPr>
          <p:cNvPr id="3" name="btfpCallout943730">
            <a:extLst>
              <a:ext uri="{FF2B5EF4-FFF2-40B4-BE49-F238E27FC236}">
                <a16:creationId xmlns:a16="http://schemas.microsoft.com/office/drawing/2014/main" id="{7E80D566-83B1-2701-2BD0-DA15B1EF8E5A}"/>
              </a:ext>
            </a:extLst>
          </p:cNvPr>
          <p:cNvSpPr/>
          <p:nvPr/>
        </p:nvSpPr>
        <p:spPr bwMode="gray">
          <a:xfrm>
            <a:off x="2510655" y="1312194"/>
            <a:ext cx="1206163" cy="322723"/>
          </a:xfrm>
          <a:prstGeom prst="wedgeRectCallout">
            <a:avLst>
              <a:gd name="adj1" fmla="val 57367"/>
              <a:gd name="adj2" fmla="val 20137"/>
            </a:avLst>
          </a:prstGeom>
          <a:solidFill>
            <a:srgbClr val="FAEEC3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Diversified brand beyond just swimwear</a:t>
            </a:r>
          </a:p>
        </p:txBody>
      </p:sp>
      <p:sp>
        <p:nvSpPr>
          <p:cNvPr id="12" name="btfpCallout210996">
            <a:extLst>
              <a:ext uri="{FF2B5EF4-FFF2-40B4-BE49-F238E27FC236}">
                <a16:creationId xmlns:a16="http://schemas.microsoft.com/office/drawing/2014/main" id="{80F6DE52-D8D1-6DE2-8C63-E58367A65CC4}"/>
              </a:ext>
            </a:extLst>
          </p:cNvPr>
          <p:cNvSpPr/>
          <p:nvPr/>
        </p:nvSpPr>
        <p:spPr bwMode="gray">
          <a:xfrm>
            <a:off x="5319785" y="5127172"/>
            <a:ext cx="628953" cy="1167190"/>
          </a:xfrm>
          <a:prstGeom prst="wedgeRectCallout">
            <a:avLst>
              <a:gd name="adj1" fmla="val -61272"/>
              <a:gd name="adj2" fmla="val 9709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700" i="1" dirty="0">
                <a:solidFill>
                  <a:srgbClr val="5C5C5C"/>
                </a:solidFill>
              </a:rPr>
              <a:t>Thematic videos (holidays, festive season) + videos featuring the latest collection and influencers</a:t>
            </a:r>
          </a:p>
        </p:txBody>
      </p:sp>
      <p:sp>
        <p:nvSpPr>
          <p:cNvPr id="13" name="btfpCallout210996">
            <a:extLst>
              <a:ext uri="{FF2B5EF4-FFF2-40B4-BE49-F238E27FC236}">
                <a16:creationId xmlns:a16="http://schemas.microsoft.com/office/drawing/2014/main" id="{39AD287B-D509-D22F-6934-CB3ABEC741B6}"/>
              </a:ext>
            </a:extLst>
          </p:cNvPr>
          <p:cNvSpPr/>
          <p:nvPr/>
        </p:nvSpPr>
        <p:spPr bwMode="gray">
          <a:xfrm>
            <a:off x="6251513" y="1963172"/>
            <a:ext cx="549980" cy="640047"/>
          </a:xfrm>
          <a:prstGeom prst="wedgeRectCallout">
            <a:avLst>
              <a:gd name="adj1" fmla="val -57536"/>
              <a:gd name="adj2" fmla="val -24001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700" i="1" dirty="0">
                <a:solidFill>
                  <a:srgbClr val="5C5C5C"/>
                </a:solidFill>
              </a:rPr>
              <a:t>High frequency of posts featuring the produc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9427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8ADC521D-682A-7662-5A0E-E5BAE06019E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380252">
              <a:extLst>
                <a:ext uri="{FF2B5EF4-FFF2-40B4-BE49-F238E27FC236}">
                  <a16:creationId xmlns:a16="http://schemas.microsoft.com/office/drawing/2014/main" id="{926443D9-1C6C-A1DF-0D4A-9AFD56DAC54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7" name="btfpColumnGapBlocker678718">
              <a:extLst>
                <a:ext uri="{FF2B5EF4-FFF2-40B4-BE49-F238E27FC236}">
                  <a16:creationId xmlns:a16="http://schemas.microsoft.com/office/drawing/2014/main" id="{17E73553-9611-7A21-1305-73041EC466D6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330893">
              <a:extLst>
                <a:ext uri="{FF2B5EF4-FFF2-40B4-BE49-F238E27FC236}">
                  <a16:creationId xmlns:a16="http://schemas.microsoft.com/office/drawing/2014/main" id="{3F92F85E-375D-A380-A7C1-EF7C0923D5D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461612">
              <a:extLst>
                <a:ext uri="{FF2B5EF4-FFF2-40B4-BE49-F238E27FC236}">
                  <a16:creationId xmlns:a16="http://schemas.microsoft.com/office/drawing/2014/main" id="{8F4ADEAA-597F-96A1-0194-60CEBAA6415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549195">
              <a:extLst>
                <a:ext uri="{FF2B5EF4-FFF2-40B4-BE49-F238E27FC236}">
                  <a16:creationId xmlns:a16="http://schemas.microsoft.com/office/drawing/2014/main" id="{60F0218D-7370-E3C6-D39E-1B3004425727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519756">
              <a:extLst>
                <a:ext uri="{FF2B5EF4-FFF2-40B4-BE49-F238E27FC236}">
                  <a16:creationId xmlns:a16="http://schemas.microsoft.com/office/drawing/2014/main" id="{F6267951-020E-AB8D-EEFB-5FB8C1F8109F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825287">
              <a:extLst>
                <a:ext uri="{FF2B5EF4-FFF2-40B4-BE49-F238E27FC236}">
                  <a16:creationId xmlns:a16="http://schemas.microsoft.com/office/drawing/2014/main" id="{C19B85BE-6D5A-B41D-111B-D0E9BAF6428C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791720">
              <a:extLst>
                <a:ext uri="{FF2B5EF4-FFF2-40B4-BE49-F238E27FC236}">
                  <a16:creationId xmlns:a16="http://schemas.microsoft.com/office/drawing/2014/main" id="{35B2276E-3D15-4DEC-3194-D94AAC2FADF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735149">
              <a:extLst>
                <a:ext uri="{FF2B5EF4-FFF2-40B4-BE49-F238E27FC236}">
                  <a16:creationId xmlns:a16="http://schemas.microsoft.com/office/drawing/2014/main" id="{B500FE4F-6E25-07F2-08EA-EB9CF34BB24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157649">
              <a:extLst>
                <a:ext uri="{FF2B5EF4-FFF2-40B4-BE49-F238E27FC236}">
                  <a16:creationId xmlns:a16="http://schemas.microsoft.com/office/drawing/2014/main" id="{CE562D76-4C0D-0D2D-997B-CB529834A06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532FBEC7-DC62-8BCC-A86F-C63CBAEF4DD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879455">
              <a:extLst>
                <a:ext uri="{FF2B5EF4-FFF2-40B4-BE49-F238E27FC236}">
                  <a16:creationId xmlns:a16="http://schemas.microsoft.com/office/drawing/2014/main" id="{9FCCB53A-16BE-FD8F-0E7B-A6B6D69A5E4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6" name="btfpColumnGapBlocker823642">
              <a:extLst>
                <a:ext uri="{FF2B5EF4-FFF2-40B4-BE49-F238E27FC236}">
                  <a16:creationId xmlns:a16="http://schemas.microsoft.com/office/drawing/2014/main" id="{8E209B4B-AB66-B7F1-8627-B5F8232FC13E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750187">
              <a:extLst>
                <a:ext uri="{FF2B5EF4-FFF2-40B4-BE49-F238E27FC236}">
                  <a16:creationId xmlns:a16="http://schemas.microsoft.com/office/drawing/2014/main" id="{A21E49ED-95A9-BD18-ACC5-71F359363E4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605421">
              <a:extLst>
                <a:ext uri="{FF2B5EF4-FFF2-40B4-BE49-F238E27FC236}">
                  <a16:creationId xmlns:a16="http://schemas.microsoft.com/office/drawing/2014/main" id="{79BEE9AC-8D17-A19A-2B1A-4A29F986DDA1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btfpColumnGapBlocker424574">
              <a:extLst>
                <a:ext uri="{FF2B5EF4-FFF2-40B4-BE49-F238E27FC236}">
                  <a16:creationId xmlns:a16="http://schemas.microsoft.com/office/drawing/2014/main" id="{35787BCA-A5F8-87C5-5E4C-AD030224F35A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958812">
              <a:extLst>
                <a:ext uri="{FF2B5EF4-FFF2-40B4-BE49-F238E27FC236}">
                  <a16:creationId xmlns:a16="http://schemas.microsoft.com/office/drawing/2014/main" id="{10DAFFBE-8BF2-A4D1-DD17-568CE6F77DB6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281652">
              <a:extLst>
                <a:ext uri="{FF2B5EF4-FFF2-40B4-BE49-F238E27FC236}">
                  <a16:creationId xmlns:a16="http://schemas.microsoft.com/office/drawing/2014/main" id="{63DF602C-A0CE-39E5-3181-E702DDAC6C20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429671">
              <a:extLst>
                <a:ext uri="{FF2B5EF4-FFF2-40B4-BE49-F238E27FC236}">
                  <a16:creationId xmlns:a16="http://schemas.microsoft.com/office/drawing/2014/main" id="{BD257F1E-CCF8-0C1A-7F17-944BD4FE1EA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327441">
              <a:extLst>
                <a:ext uri="{FF2B5EF4-FFF2-40B4-BE49-F238E27FC236}">
                  <a16:creationId xmlns:a16="http://schemas.microsoft.com/office/drawing/2014/main" id="{F011E23A-99E0-60E2-3605-7719F04AB3FD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04721">
              <a:extLst>
                <a:ext uri="{FF2B5EF4-FFF2-40B4-BE49-F238E27FC236}">
                  <a16:creationId xmlns:a16="http://schemas.microsoft.com/office/drawing/2014/main" id="{F8FE9775-A08D-46CF-2151-89D740AB51F2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B3CA210-6BC3-4334-BB0B-46C8A39132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054" y="0"/>
            <a:ext cx="11522075" cy="876687"/>
          </a:xfrm>
        </p:spPr>
        <p:txBody>
          <a:bodyPr/>
          <a:lstStyle/>
          <a:p>
            <a:r>
              <a:rPr lang="en-GB" b="1" dirty="0"/>
              <a:t>Social media ads (FB/IG)</a:t>
            </a:r>
            <a:r>
              <a:rPr lang="en-GB" dirty="0"/>
              <a:t>: Hunza G significantly more active vs. competitors; scope to diversify the creatives’ style/format</a:t>
            </a:r>
          </a:p>
        </p:txBody>
      </p:sp>
      <p:pic>
        <p:nvPicPr>
          <p:cNvPr id="34" name="btfpIconLines155624">
            <a:extLst>
              <a:ext uri="{FF2B5EF4-FFF2-40B4-BE49-F238E27FC236}">
                <a16:creationId xmlns:a16="http://schemas.microsoft.com/office/drawing/2014/main" id="{FF89EC04-53B9-4683-A4A3-7757D3A6C238}"/>
              </a:ext>
            </a:extLst>
          </p:cNvPr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800" y="1238178"/>
            <a:ext cx="391380" cy="391380"/>
          </a:xfrm>
          <a:prstGeom prst="rect">
            <a:avLst/>
          </a:prstGeom>
        </p:spPr>
      </p:pic>
      <p:sp>
        <p:nvSpPr>
          <p:cNvPr id="18" name="btfpBulletedList651135">
            <a:extLst>
              <a:ext uri="{FF2B5EF4-FFF2-40B4-BE49-F238E27FC236}">
                <a16:creationId xmlns:a16="http://schemas.microsoft.com/office/drawing/2014/main" id="{932F1F73-AB75-44F7-911F-9298425C988F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8564952" y="1735730"/>
            <a:ext cx="3296848" cy="399685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100" b="1" dirty="0"/>
              <a:t>Hunza G positioned #2 </a:t>
            </a:r>
            <a:r>
              <a:rPr lang="en-US" sz="1100" dirty="0"/>
              <a:t>on # of ads with </a:t>
            </a:r>
            <a:r>
              <a:rPr lang="en-US" sz="1100" b="1" dirty="0"/>
              <a:t>~336 ads </a:t>
            </a:r>
            <a:r>
              <a:rPr lang="en-US" sz="1100" dirty="0"/>
              <a:t>in LTM, Zimmermann leads with ~451 ads</a:t>
            </a:r>
          </a:p>
          <a:p>
            <a:pPr lvl="1"/>
            <a:r>
              <a:rPr lang="en-US" sz="900" dirty="0"/>
              <a:t>Zimmerman advertises across a spectrum of its </a:t>
            </a:r>
            <a:r>
              <a:rPr lang="en-US" sz="900" b="1" dirty="0"/>
              <a:t>diverse offerings </a:t>
            </a:r>
            <a:r>
              <a:rPr lang="en-US" sz="900" dirty="0"/>
              <a:t>including accessories (jewelry), dress and eyewear.</a:t>
            </a:r>
          </a:p>
          <a:p>
            <a:pPr lvl="1"/>
            <a:r>
              <a:rPr lang="en-US" sz="900" dirty="0"/>
              <a:t>Scope for Hunza G to </a:t>
            </a:r>
            <a:r>
              <a:rPr lang="en-US" sz="900" b="1" dirty="0"/>
              <a:t>strategize </a:t>
            </a:r>
            <a:r>
              <a:rPr lang="en-US" sz="900" dirty="0"/>
              <a:t>campaigns by </a:t>
            </a:r>
            <a:r>
              <a:rPr lang="en-US" sz="900" b="1" dirty="0"/>
              <a:t>advertising a few of its other product lines </a:t>
            </a:r>
            <a:r>
              <a:rPr lang="en-US" sz="900" dirty="0"/>
              <a:t>such as clothing, accessories, and kids' and maternity collections.</a:t>
            </a:r>
          </a:p>
          <a:p>
            <a:r>
              <a:rPr lang="en-US" sz="1100" dirty="0"/>
              <a:t>Hunza G </a:t>
            </a:r>
            <a:r>
              <a:rPr lang="en-US" sz="1100" b="1" dirty="0"/>
              <a:t>depends heavily on static format (~94%)</a:t>
            </a:r>
            <a:r>
              <a:rPr lang="en-US" sz="1100" dirty="0"/>
              <a:t> with only ~6% being video ads.</a:t>
            </a:r>
          </a:p>
          <a:p>
            <a:pPr lvl="1"/>
            <a:r>
              <a:rPr lang="en-US" sz="900" dirty="0"/>
              <a:t>Scope to focus on </a:t>
            </a:r>
            <a:r>
              <a:rPr lang="en-US" sz="900" b="1" dirty="0"/>
              <a:t>video ads </a:t>
            </a:r>
            <a:r>
              <a:rPr lang="en-US" sz="900" dirty="0"/>
              <a:t>which offer </a:t>
            </a:r>
            <a:r>
              <a:rPr lang="en-US" sz="900" b="1" dirty="0"/>
              <a:t>story-telling </a:t>
            </a:r>
            <a:r>
              <a:rPr lang="en-US" sz="900" dirty="0"/>
              <a:t>opportunity to </a:t>
            </a:r>
            <a:r>
              <a:rPr lang="en-US" sz="900" b="1" dirty="0"/>
              <a:t>engage </a:t>
            </a:r>
            <a:r>
              <a:rPr lang="en-US" sz="900" dirty="0"/>
              <a:t>with the audience and consequently lead to </a:t>
            </a:r>
            <a:r>
              <a:rPr lang="en-US" sz="900" b="1" dirty="0"/>
              <a:t>improved conversion </a:t>
            </a:r>
            <a:r>
              <a:rPr lang="en-US" sz="900" dirty="0"/>
              <a:t>rates.</a:t>
            </a:r>
          </a:p>
          <a:p>
            <a:r>
              <a:rPr lang="en-US" sz="1100" dirty="0"/>
              <a:t>Scope for Hunza G to incorporate </a:t>
            </a:r>
            <a:r>
              <a:rPr lang="en-US" sz="1100" b="1" dirty="0"/>
              <a:t>carousel ads</a:t>
            </a:r>
            <a:r>
              <a:rPr lang="en-US" sz="1100" dirty="0"/>
              <a:t> in ad campaigns as a method to showcase product offerings and features across collection. </a:t>
            </a:r>
          </a:p>
          <a:p>
            <a:pPr lvl="1"/>
            <a:r>
              <a:rPr lang="en-GB" sz="900" dirty="0"/>
              <a:t>Carousel ads features multiple scrollable pictures that lead the user to different landing pages, helping in increasing click-through-rates</a:t>
            </a:r>
          </a:p>
          <a:p>
            <a:pPr marL="0" indent="0">
              <a:buNone/>
            </a:pPr>
            <a:endParaRPr lang="en-GB" sz="1100" dirty="0"/>
          </a:p>
        </p:txBody>
      </p:sp>
      <p:grpSp>
        <p:nvGrpSpPr>
          <p:cNvPr id="86" name="btfpStatusSticker954153">
            <a:extLst>
              <a:ext uri="{FF2B5EF4-FFF2-40B4-BE49-F238E27FC236}">
                <a16:creationId xmlns:a16="http://schemas.microsoft.com/office/drawing/2014/main" id="{5BE5A60C-4F77-5B4D-3509-11993F4AECD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-3308535" y="876300"/>
            <a:chExt cx="1759136" cy="235611"/>
          </a:xfrm>
        </p:grpSpPr>
        <p:sp>
          <p:nvSpPr>
            <p:cNvPr id="84" name="btfpStatusStickerText954153">
              <a:extLst>
                <a:ext uri="{FF2B5EF4-FFF2-40B4-BE49-F238E27FC236}">
                  <a16:creationId xmlns:a16="http://schemas.microsoft.com/office/drawing/2014/main" id="{478A8F7B-E1C3-9B0E-5425-1C73DA0229B1}"/>
                </a:ext>
              </a:extLst>
            </p:cNvPr>
            <p:cNvSpPr txBox="1"/>
            <p:nvPr/>
          </p:nvSpPr>
          <p:spPr bwMode="gray">
            <a:xfrm>
              <a:off x="-3308535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85" name="btfpStatusStickerLine954153">
              <a:extLst>
                <a:ext uri="{FF2B5EF4-FFF2-40B4-BE49-F238E27FC236}">
                  <a16:creationId xmlns:a16="http://schemas.microsoft.com/office/drawing/2014/main" id="{9FC721EC-0733-3EBC-61EB-B1EF5126F42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30853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HeaderBox871977">
            <a:extLst>
              <a:ext uri="{FF2B5EF4-FFF2-40B4-BE49-F238E27FC236}">
                <a16:creationId xmlns:a16="http://schemas.microsoft.com/office/drawing/2014/main" id="{12D18823-4086-0D2F-4D6B-662D7D787A8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349199"/>
            <a:ext cx="7458564" cy="309072"/>
            <a:chOff x="330200" y="1027537"/>
            <a:chExt cx="11531600" cy="309072"/>
          </a:xfrm>
        </p:grpSpPr>
        <p:sp>
          <p:nvSpPr>
            <p:cNvPr id="14" name="btfpColumnHeaderBoxText871977">
              <a:extLst>
                <a:ext uri="{FF2B5EF4-FFF2-40B4-BE49-F238E27FC236}">
                  <a16:creationId xmlns:a16="http://schemas.microsoft.com/office/drawing/2014/main" id="{763B2FC3-DE61-CD57-B7F2-9D01BEEB064B}"/>
                </a:ext>
              </a:extLst>
            </p:cNvPr>
            <p:cNvSpPr txBox="1"/>
            <p:nvPr/>
          </p:nvSpPr>
          <p:spPr bwMode="gray">
            <a:xfrm>
              <a:off x="330200" y="1027537"/>
              <a:ext cx="11531600" cy="30360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500" b="1" dirty="0"/>
                <a:t>Hunza G and Zimmermann lead in # of ads; &gt;90% of Hunza’s ads in static format</a:t>
              </a:r>
            </a:p>
          </p:txBody>
        </p:sp>
        <p:cxnSp>
          <p:nvCxnSpPr>
            <p:cNvPr id="15" name="btfpColumnHeaderBoxLine871977">
              <a:extLst>
                <a:ext uri="{FF2B5EF4-FFF2-40B4-BE49-F238E27FC236}">
                  <a16:creationId xmlns:a16="http://schemas.microsoft.com/office/drawing/2014/main" id="{29AB51EE-2B9E-3B21-52B7-E955C8D3502F}"/>
                </a:ext>
              </a:extLst>
            </p:cNvPr>
            <p:cNvCxnSpPr/>
            <p:nvPr/>
          </p:nvCxnSpPr>
          <p:spPr bwMode="gray">
            <a:xfrm>
              <a:off x="330200" y="133660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ColumnHeaderBox871977">
            <a:extLst>
              <a:ext uri="{FF2B5EF4-FFF2-40B4-BE49-F238E27FC236}">
                <a16:creationId xmlns:a16="http://schemas.microsoft.com/office/drawing/2014/main" id="{EF672F4F-C0D4-A91C-050B-25C1B65E107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524333" y="1339803"/>
            <a:ext cx="3296847" cy="315913"/>
            <a:chOff x="330200" y="1020696"/>
            <a:chExt cx="11531600" cy="315913"/>
          </a:xfrm>
        </p:grpSpPr>
        <p:sp>
          <p:nvSpPr>
            <p:cNvPr id="24" name="btfpColumnHeaderBoxText871977">
              <a:extLst>
                <a:ext uri="{FF2B5EF4-FFF2-40B4-BE49-F238E27FC236}">
                  <a16:creationId xmlns:a16="http://schemas.microsoft.com/office/drawing/2014/main" id="{3B006844-8359-0FBE-C8C7-D1365C3BCD3C}"/>
                </a:ext>
              </a:extLst>
            </p:cNvPr>
            <p:cNvSpPr txBox="1"/>
            <p:nvPr/>
          </p:nvSpPr>
          <p:spPr bwMode="gray">
            <a:xfrm>
              <a:off x="330200" y="1020696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b="1"/>
                <a:t>Commentary</a:t>
              </a:r>
            </a:p>
          </p:txBody>
        </p:sp>
        <p:cxnSp>
          <p:nvCxnSpPr>
            <p:cNvPr id="25" name="btfpColumnHeaderBoxLine871977">
              <a:extLst>
                <a:ext uri="{FF2B5EF4-FFF2-40B4-BE49-F238E27FC236}">
                  <a16:creationId xmlns:a16="http://schemas.microsoft.com/office/drawing/2014/main" id="{4BF31364-BE6D-0D38-01F7-6E8C4972A802}"/>
                </a:ext>
              </a:extLst>
            </p:cNvPr>
            <p:cNvCxnSpPr/>
            <p:nvPr/>
          </p:nvCxnSpPr>
          <p:spPr bwMode="gray">
            <a:xfrm>
              <a:off x="330200" y="133660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qFHiboAhnyFYO40OgDW9etHQ3Sy44XTVMcMC1tL7LmNH8lNkbB1Jw9nduKjj94yZw/Me2WqwClzThRPxzPfb7U0Ezc6ymFC3HIdD5tkg+WW9oEick+8eg79QfTstLkDjf+LQpZOqkzUiu94IsCbVXr5OpmnuG2y/lFonp6vSXkY7I9Qlrq6INlq4OY8/f79GtyG69vBipcHf6bM78PGESgxtO49+cRo/A70kPl70xje2NpZOIjYoWDaNFHwN5TcsPiKMFKJ0OfKxnS1LLuRDXZ1pyDDlSiuGe2MYW6FQxOCSY4eGJuKZr9LoK6/i3S3EFnnk1qTxg07+fCNkK/3hHNME89ydTA/UCJt4BtjTB9rdAhy1XnoN5MBDLbO/49CAOkK2RHBVYTeBWavuDndNicp988gOYOigNewsOgAJorCNP1pAKwoO/+KJOQC7qlZc9oDDBR2ju/cdU+IxVzxz+M0npsR24byNV0mOTS/pLxcAlFHfGDCak1E1Crm+sbgkcdAwdp4CBAsfwIM1UNO79w2AxzWp48n5T5r5IpTfc3lj0tsPnu4w1z7WVroaRPhVwHYvw3ltM/XXw+FLx4WSbSCtBNXihuUdwGZ1EBLiomdTWNHfGN35egidp+zvixhAY/KglzpfyaUoz1GoEbvff71nnw7lj+oxJUxvs7XiAhdtQ+LdLJSna7oSIhTMyhlIBT/C4EoFZXisXfPTXfq6xLO7WHmMsFAy+XLlBxNHVxzM24cSlFqL2Qbg/6pxifNb+TGtMt/kjTl5uslG7e0xssVGZzruWde5Dz5MQtLeSHceBT/VRm70fYta/HmmFghxs8QPkAXpwxphJydkfstRxodC1Zq1N2kNWIp08Ba+XeJXF+vvUO2AhQ3VNQJ+lI4zoeePq3gZ8UwZTTsXSfbEtTaaF57NOrUjcUgtP+iEGfrHq4tWu4a6dirSmO6pol8RsEq0ycGxzm9+5MARpuHoIK/Hj0as8CzQmHNCjorQQHUN7mtGz9uuS/zxulX8d7NKLTH6QalqpzwD45E7BkJIjhNjSjF7Kl5H9oluZZ0peM4zf5hWUlyn/YM4q4xdDvFYcWrIayDwoIiRD7IaY4RJ/FfL2sbv8vHze06hJQ1zvUCMW9RMd953VMzOoz0ZZbj3o4MAguyZhO/wxTGDZaT4Qku9gv8dJpUieeNlqbC9w/uB9HRICnswbBNuu9+Sbhs4es1X5Km3XjBuX0PXqvNZdeBeGMZ3ail6SHczywQ3fR8cqKLIiQRfruQP4IsYOHWAY64ik3lBSWLQnKdZm9/9j4TRreJzwewuhTEkHZLG4J7VwwhZRyXlN1TpePJeRjgWIgWvLEY8XTR4TqZD3bMJ1d5KDMFuLlhfacTGfkbSjZZknBMJ3CUND4M7BhsLaomukMRj41gTfMv1tUhG9kmEni/CBpTKI9bgRBo7vGG1YumIJQNSHQW6f6Y4+A45Rh3u+12kxr6c+9gIDRD9ZSMy60Hu7uFJvXj9MN+efwqkElpuqxK5A251ZKpavGMKzKMEz5cXCDrVJKTnpcThN/cxkLj8gJpBxVHgyLJfnm/pOq/ySupkPgrO24UHqQ/30bgtVIx4tNNznQ6vTkY/JauwMfOyma4GG8EIHKT8GwpH2jF6cBSVvsw6K9HZhF2cjFo5DmZa7Oq2zxPS6QEPP/qL3TRBX0l9h52w0Yib/p60Cj2WJUVTblqfeo/DJdeN5pVzZql0oLiGnv/CsNA2q8OJPTfKnFMbbhosFh+WNgpOhDPHgDwRTL8NAl4HCHbnotaWUyPBBjCd9Wv5Re7PJfceQ+E9sWj9B6Mt9asKfnjE7kKxxvbhDS6Amfm4Qpeoep8rYPLoOkocZrxxCM/oiIPlL7oaT8d2UCifp6gpU+7LATDxdZx+57JLasFhm6eUvrKcssC4cCfirbnIJyGVR1tQeLioPFRqsZvD4EErPzmt63jEpNkvQ/e5cCFXG476Alq4X/Ej+Xr+H5kBxUF4xEnbnczy/vw8WR//Kk1Un4fokVwQG79CYTQhemrm2uIBr/l3g0hFmZGFRSp4IAQPEM7MoaGXAkCaVV0C7NmwlXZWZjHQDiVsEEFJLvKIgMXomH6IK1RkF6SZx80hsSBaRyfJvlmDzjC757poXEqO8OfpvTLgO8PD5HdGKLWuWPD7tGB6WUxyjL+1LdmnxqTdZRW4Ygq1GY6vMkBqeOgGpB0ptYGXVMUPuLdpht82v3wcDE20YcI7Fma3uW9DilY6d6Zf0mQ0DNweRMQc1fIPlaNJbPh70Z8Z9Krgk6+5VAOUILPR6CbfdWqfUjTkF8dDRvl84pGi0x3QONkzbD5Pd0w9D7KXUTeJpBelkqtZMm4bnmlc13gyB0pFhIpnMdJ8M+RMAYyv8Xb+DBp5IGfGQ7sI0U3YcloWgD1gh+h+/lMBM6rj15tUubw9Xv0HJbBHGGwPxz416zAI3HkGcwSTMsqQu9JD6SY4UvFvxqesV2W5HSiEyZ2eXJj18BqSJjhMVB+HRgY8SKVcVJIpJJ9M9WN5A8bH7UC5tpOIDtToUt+rtl2+Ge9QrkLhRbUDqWaPcOtzex/MZGxZvhE6j2leD0L3XCxBPbBKcVxxGzgYw2to7+gMTBKMR7bwhYm+VTKaItWDER6HKqb1Xk3kUCMT2Cz7+y+afmJpBWZCFve8AmmqrcDSgUdurFkZL6zpVLWQF9NWuhX18dsyfz6mM4KX5Arlus1G4P73hNnOZYc9F5IxJZf6SVGevnQ+layag3iexzfM/yc/aJ5+Tu2hcAC9PDfozRGw4HjxyFQq5ycwpTaXWip/q30tRbnlqWbqI8g2nwWtEdHC6Qd3ZgiOpz7Vsa7QS1apbQJoiJYRS941qtZ4Ol+90K0SZ6AR7hCrZOP6ep6BfSYzVBxe1joW3n7R+kZlILAOGLbzqC68NFUd8ZkMXq8Na0x2tYTskBK9IdGccnLpbZP/U6RusjFTk4sm9D4jmJktGR4x3BSeFWnTXIq/UDTarR7rJAOouR6HYktmW5d/RlZe7bIC99sxnYneZAwKEe/SWkRsSxCR5j3Olmuy6w7d4OQhRfHDo3FOX4EMYP9WezRUmmABRK0WCleCFoEMnIj1kYUNTg548XM9y31wW3kpCMOC2iP8Off1opm9A5kB9f1qzqQ3Z3IpV/fr/Zqi6iTuTsUa16mWNSHjs/yzhWf+YC6nPtHXc5/nJj7CnUNN8Bnkz4Pt26v2WX5jo+cXXfRf6F1F/MFGszR015ffx41HnC8v/OA8UgYOwjhh5dg1sepSCfhDl1W1N25bYgrrMc7Elci1M3jEL8F2lNhebVueJOVEWO3CCpyvBS5gfDRDm/OavkF8On4KfYvwpZNSGmwqCuzjf/XMCABrc+kdgbBzRzKUPcdmXvltp5M7vDUplkRvVXNPLxfaP+I/G8sFsZ9FDKeMcNU0JteGcVPIwoaWM7w8+bD8HeG+ax4SLZxEF/Rxv2LTLK92xUvLda7QbMNnGmgw45QH83p8O9zmoNmZA/LYU6y2Iw93/owbnAEayeKF6ujh56K8f2z5Tje/3ITQZaBpnPeodNcN8hxXJWIa7wUWjNq95czBdb5a+E39G+sqParuHDgMcft1/jv5g44eP02WYZ3MsiOlCheZjKIBMJlWCqKrAj+A4fPlJGovOKgzV+Eass4ZBic2mAl00PNtjHNa12kLsJVXg54TjhAfsHICH0hjAkjlY2OTNaWeE6Y0TNuOsPuSqZbYW61J0V43Zt8ZiQ6RFBtxkYfgegY7v9u2tkUClZIuCJrYhFGyhU8TOPR8YgpPQn08ddXokI+7nnNKhHSTxqJRD4rqVsTw48J0nDVbxtpghekFg1htzDgtsJowdos6UwJJ9A3MlY/XOCZSkhJ5QBunU7hb3s+kBGmuWKgDQvUx7boKLd4YTw2f20zrdev47K1P9tmCIZno+wMYJjPBm+ybrO/pzIbZerk7GyvhnXMP41QgGg+rehCxLvcmRmXZbxWuuw/iNhjW+xvvkFfZSwOyw/QzKRqgqoF/VTRlbWs3wMtGamUAeczf9GHhGkGX5siJv7goqvekwRzcXAQDUQD5jVXwaFZW86Br70zGhKwMZvkf/DztKM8ufm/4eXEv3kpeXbwo63VnvfcLEYEaBPwOYGhUpSUI+tQ9RfnPtumNpIBxvIycN2H2b3LEiH3NmQ/6QzLI61jLczMUj43rbWccYuHe0dOZS8Kcqp/b7QdzNqLAW86x/QEBfcHY6pBwe1l2z9xsIUtgK1KfgYiLmsAtKl9n3t8bcFkF6TkaEfUXlQUf7/9bFo+9dpebuTpr/82bCZpJYenEccImZBko+GOdrpLlcnDCJXyauuitT6LfmOaUpN0jbdkHbnjNEjfmzupDrERNq5IDUJ53jRQhnZWNTCST2pAqcUwhvX6vhPcgMEJUnRf+PaIZV+AlY43DosjbJhb9Q50Bi8H+BSOXC+NSTLLobYcOsoAP47fLUbF/ep95qT1c4NUGr/oZ19K2COBCH4UoudP6wfw4PcGExO7HsK5X933vKXuJAWPPBJ/t0GaRWFooUFtBsdgGL2mygmldTworQWcFAgccR+0/lL2khBaSwOEa+UH+AkhTbuJw/TpzyzIfLHd4ML26oNK47jKOcp4aCN8YxTG09rtySSCLNvuUOOJYm9vveKNzeme7y7QrPSScJwSZC/UQi+yRjyTHnPB8wPZwAfktQ5F/8vtpnPOaFbY+2qZSqxoYW3mbHgqX32p2WsyDv5G+M6jAv0+fEo/+e5mmtu72CVJ9nXgqFCxd2459VnnmG6mihuS6OkWHc42Y21oXaArCfuVoSzNF6iGX03sCalGn7HvyONAFN0236AlDfQnmvEPF2iQYsTDUURPeKlw3oZ6eIi0+h063HteCzoapHTeiT1N+aUaISA4wMCz6X6I+awO021t6056V5RSpNF8AZAmM1jlawLaaErLzemlHdtAmB5scCqGA8kvvozQ5AZc9RFa7IHeBDwmVOEn8nR8jEdOKLEDqkm6z++REyIJh4Z1J4S5auHPLjaVOIbxdanNY2hY1fgpL/QGJea/O2RrPOu4ILDXY6XK61Bn3JrBKLwenBCIa/d0iob4qxDz+SPEigm7+LGDWpmCfz3seN2sQ6LSoVCgv03djaNEdSy/pFeHvVmk2gnb4kfGToWlc7hsGmaOjt2qTl53C63i6XPP7OTYjD5ezuF9cGI5age6U3uU8/LDrq6sKpibOjP0p/JLRsFTwkxZx2/rlCMnP7LKDigMNUPJTTe05dZwpCqXOa9OQyX+xN+0VGVyqgCAvdKTottKS8CVGU3AvG2DYgt7lf2NZ17+OOrva3CQnfP2u6//pLFM4tHv8VvjjenIBi0MH2h0vKQiKSYO6vQBKDfuImsn2SrRaLIOQifgbRykWwsOJu4seuvUJ/WTFkY5RGJJxKCbraIIiUNdHfm0kG+cVSCGWRV0mFUR907DaiHsqATh5fjor4vvA9IsRG/p++UfbvoEc7OdIADg2C8WTNfh9sruGW047KFkRy5X1q5WM7Q+AvAiWsLZ0QoT/Mk5ALLuGdM+mMAeFsKqVLebJOvbcUEj+hZVrCysUG63ecix2AI0iyss7c9U0ca20LjDKLQwYO2A4ScrT5xfjp1SNEjJKaboq6DM0wwJBOWMAaW0rJvO68dy8i68+zg86cfT18U6OdPNIkCnW8guBQZb08tk3y0F9thsBbWKeKmBSpWTx5l0LYhOhzVKt5pAUO1FVZN/OfgXCRGR2hKE8ZizYc3NSndTlAjtrkVL3e9Th/DxwG/wwVjsnphdHrMO8LmnlzTEKJZ1dX6TqTNxHqyr/P/ymCPwl7M2qtiett5C+fvc5pq3ZKkMVX3Zrn4XqZ7xBw55cgYZm09s1/jsicJFIBad3le5eHeymqjb+4cOEAXNGxW76sZ6ftl4FBwBQcvUQHgyEZ9sShLK4E/fOMI96VEaUAE6uGxQ1Xm9Uu3q/LKIDJSw+8/qYpszMTn/18bwVKbdIqJCNeGddmPHkKetYjnK81+7twND1T7KNRE52rWEBsJjlwKhahktvjX1BeO8J/+Snj/ddvJSzGW+BP3fK8awm57bhsW+qKSqQuAOGjJfNv+n09o2WE7/F6+OgjHLAd8NtmbEk0gsOaF+/GzGls2MhfMe5L0NW56VcpAg26T0w2rxrzs/AvLzfOIzUish6qTZN8guxT+YvBgBYXRKBZ/7y2folqRjq2UqVqWfG8N5AkwbG9ldqmRtagJysrWrdALth2cxg59q+7SmOg85yjTS7Y/DbqdPVuZtZqH80NPhoA2QkujTQMKtQKXfMmPKMqtyv1baVNLEXT9FNApS5o61CAdUED2jmujTwSDnFoU4R/i8W5JBmpi8LiBrjamCOKHewbSmvYSpv1PfTLdg/BMpVk5M+ZwQHNpOv4gUzxCVAGz2GmKphsKuQBqfkt9FHUy7W8fX9RTi6KKIjefPRWDe+LOBetKwCFIDVjGqL0O+3DN0JbRMIN5932+rfvCl1jIZlsGMWhAgWuotZi319K2ayZJCkJkf1UCC0Xgx3OQf1jjolO0EkHqs1FEJoqr2g8MO/ltjrzO56qozCZCJdLODC9ewFYpplMsCztS5nx88rEhlzs5hJPIC1zCaJ/Vu65B1xDCwN0azOE2najKoenkbogTXdAV1PhYHTCfQG0sLBP6XAHT5e4/3bo7Nk3tRj9Q5hdZA4KXyphVgPaJxrwetiUbV05cLY5Z0wRXbHR5pjb5Cxm+kMR0kQlTE5rY4u6bwZQ9u0FJHAJqjFuwsKihqYycR0poesBKW+G3seAtdDY7MM8OM2Kn1QojYKEkSxdHDIuxXowmT5SuE/w4XoD+NL2DrMbhEix5VaSun41Is+ot1s0B0YvPKdivEhnIH5dyua3rY9OwkM+MlJJUUNuCmYhG4vrJwY2k39qHrR3Yw5witp6e63KPPtVOXA+MGwwMtKYexu9bzkpvKMvcZqWfFY/Yl/1Olns5I3Yt0srfbOafBKu6HC0q0lELi9NTreuiheEtUJnQWQ6UOTmvRYRrC7RhS1JerKZO72BnyW4KdJDzZJuH4/kIP29N7fvoNhw4WGVkHXOAYya4fqnV+8YCpMRgoyDVew2vbE7VBAYhuPCuG2njLr5i7qXFsOtAC3ab4ws6dE7ojOtyFhn0tHGeFszCIFd1QZiwUv1zpG8LZkqraytYyV0gllnXlSExXvss2dMxjJA0KfQxtM7s6vSp8hgv/jJNKHeD3NokJ6kQNMALPJNlheUeDF6HslIFl548ClITKpadMBHP7V5wy9Sl1gLWI8YJ0gGKwK+/WUglUcXzRa0OIctKCMpXrEy/3SMmcp7OX0FxyA0SaqQ3Ihjk+1qiDGObhhcPljmGPDNuAPydU3YyL07Vf59OFzjK2o72yDszN5v+fo1ZuTx8nmWXfQUnmT8VRtgbH6mX6Hdm4W3LFcdarmFqhHck02rQjfBbMXvjs1DWPwSbnSxEzV/ocf7BCnwny3xSpfHrEOCeeidLmJu87VIryE34cdAQ8OhT8hDD1iQ6z1wFCVye7SNmUXeOU2vYRFC73RGEoYaeWJ5LhWXFsroKm3Z7JbDJ5tFHmgk5sNZfbqo+BD2g8wCtspX++lCyWAoVtD16DFUGjGz11Xnw8PIuC/9ptB6B+rf2VNQHwz4okJDeyT2VAhl4ydQolXukrmnIAlxYFdsy2RmcsIRppNvFpRv2UGRdV2fjCo0SVuZXnErcUxH5dmLc8MbJ/QgGLIZJUmQRRRVRj1tyPZTVU+skPSTlu/Wba+16oOpKSrQUsiquoB7M6AX9X7j2cCHN4uCJSrmnZiqKlCxSPQ/QtWdPATCg0ReArb+y2HFMhunoo2oYGn6TUz4nBrVdUxq/DPhFiHHos8y8yXUxY85hgGW9gSvHi6LL/9b4XWAAe/O5k3fsnmoH/HQnCnA6bCe6SyL/v6PBCBAi9hZOoXnpEpI0Ohs983ZpOzdE5Fxtaka4eP4jeR7czQo323plBHF6X9DSFvUWuL9IsG3XztUU/Fc/yfOHVbHlyULFIkQpSjl99vVfl3LoTG/zqoO/8slz7eE6l3aTpf61fqtfHf9MZMPzIlPYrrJmcv+lcI6aHP2o/BHK3ElAxn/JDkpZ9hSHOOMbkUnl9wfqO/+ZZizWLS5wRKTXTg2RSjsc6C9ctkI62fE+gb9VLLzi3kGqDBZMhWomm6CroWRIBzlon0oAXYAtEkfWHC9C2X4Ylbjgs1OFVRmZiMoomYLyKLrd/dgJUDIPL1R8MUlWLwdgTv24/BpYvmxgRm+bxAosS8DF2BM9DOpZ/VNUqZ/0BKlpxXBdBoKPjauTsbxKZbeJ2EUBE2AFh7jhwTwIV6F8qFbfQie9iQeNYc5nd23yPatQWDRjJeKCIpzCs7/pCQ5MWVyKjsPpo36McF0aM2LUKjTTWnKzQTpWY/MYZLnzpBa/KL2o+wor/CK6vhGK+W0udx1Oc8HsUDBL3aR5eoxuEyiQ7sn1cizRDwVZKDwMoJi3bAThq0TTlIEGywoVqVhZ67v3s0tph9Q4Bs4xRkD/JZ6Q7HsKKHBtKilM7ztwtyLRE9Tn3Vu7waeiDEB1ttZXWJxQgMnL90qlHy9MIe2Sj2Fw6VaZXvCu3V326zqoi7nYORyBvbh5DfNNojvc2Ut9DgFb1DWl8N3SrSvBKvn3/RQA+TjY4MxFBR1okpBdd4jF2OsZFLjubS0X1JKsWcQo0ojTQFhhDh2BtS19ak8XawDdjEYHoDOAlJCFYaPYgyHRVF2qw1AhwQdi3XPDUYg74DphK2NGVe2oe/BXLEAqhsALk4Q6Vh+tnx0zPYsWHhGenUwCa33NOr9OGqGGmsdK5wFTpKCSgq1HauS+YD7vKFllzSy0NDhfiLUWecvXL4UPrW1oAEX7ymlm1B9PsHfF8P6Xc4rIVRGeRCpDl6C7o16bAltxhWCbmn4kyYEeIH2YUS3M6voyhPEiKCZvWaun5qOVC429HDuKUx49H4uF6rUkAva2bU4WX1TadRLT42vPOWZ4AOIiurPeAB/jN4Yn+H0YRq46eem5/lIW5pFZ6MrGwxESMlkVq1NypdyeTd0MANmwJoSFsVrS7V4r1iGM+Jz9RRAIQZZpR/XvFP8nRfaLiTzAQ9IDYgyTY3/UP+FaSXpxN3voqPmgFhyqtK9Cbany5PfeQO8SVuj9L0svoaDGb2bhVEoZIDz5Tuo6c7OqTssORgBqp1V0P3vsegTmkycYc5sSNg2d8Thmi1UQ/XJ/aZ2hNFjJyDSlbSxYYVeedzGOonq3J+I3m3xWJlg0kZHM/sOnsFJ7ocXUoi2bXa1JbAz3UIPqMBbGut/c+AGOWf8riMe/QjiRM9ME8UKK/W22TvShiaN57bCNXqg07vsUG3qVvghg+CEhDvknNDwbq5kIVfzclqgQRZKvUjJ2Zv51bvcxFsMYL+zVfSNr7yL4rr3Rl1IWTPBSbmfV97ai8/vB+LgCkU3AOg865nTIxtd1Ow6plrPYTJ89xWaGqY3N1zchsWunv67aUOszGBS8IxL+0gMocn44KkG7PGTUfu2lYpxQuaa8VGMqoCxn1o5WAqocvlXV3xirAjD7xpV65LEEOM4gH/K4e3KcRQqzvuF0PPGnBsisW9yfa1G+ceA6aLQl4LC4QAI/xzH9qsNHtWFZ9gofgkw1Jd+Yu+qQyT9Yf/a5gpZgs5E7GRdS+o7gEdqJEzuxnBdYGO/b2nlydN2r83DDQjRfMOtGxhI2j6RRAN8E5rJcksh3h+bgkU4qr5sAqxlWiXiHEB/WhGARzl8lWkMWAJPYozBNhBsjsPb58Cjy8Zadp6r8KXK7nA6aPAAYy+FNcJQY2ZYT3Xd1wfgGvivIuyxERNOYSFHJpUSYRcBjJ+4N9YpZhu3QFYh7tzvdPFKsyhds9wAfHs4UYg+XaaZjcHaZEID6/D0PBQ3trm73RDAVyQIss7Lm8nPDE7uyYQPcQTuKXRC39R9Mi4lWM4eTw7w6TBlW9YTVtvWUfTGSw82ehF3xyMu2+TcUmwK8X0LVonJXLwYQgQmJv4KxrGJ9vw3QWbi+bisXEXeVZ3EoKmf5d8VNUxCO1h89+lyLSGvARiGNQFluUaRsja6Yh/d3J7ExBBiXjyQBVri9tnHdhLmsIM47usdJlQ/+VyY0iYAkfWs1seC1jYprB+uYnDYtp8FLbkvDIADECWex6IG3IerheoYrUml5cjqoG2pBRkl5ZmQVyEOzhW5PUkKH5sfd4FJWeC/4+DqqXd1WMgODUPTFSPhj0s/l+8pSURnlyTCRqW4iHNfxFpS0dum6l3dN+ht9WKQlF8IcdoLNHkUhWX1+rheeNPAeLPnuBe6Wk6kpbdCngWU8AXhQmNQamJT0Z9+ARN+tBb5EfhOaVWIF+yyZ1tPgON5qbnFpyf6Mrt4XP5pjO7C4N91XRB9SyIAHrclWJXBZSe5JvvUtgXmXQbaU1nNn2KsJCdum/P0nNje1PwSUvA879HSt+wt9HtTGnAXzWZkTPS/P9k9Or99pJZGBHzGo8CcykaHOHeoWn3PpFO9h+29EKAKxajZ4bmaZqNNshW6tM4EBpVUGh7QkDzZtCnZDq34yoWd/kXsQAbCchsTA9Kk/JTwRi9e3If7XxyFqrEeF2efvRT705rdnV8wEWYiHs4GRuw3w3msW8M7FW4FEEkyjrEyBf+SSspYX9myNwYAB24BgkAzfEagEfZwVbzaNw+d2i9vokJ1AMMqAzIBPjz4L1Y8/7bWJVgooZ0XhPq9oY4VRF2U/nSNLIuUKYZZ30fJ7rGZ5I8BhECNiaovU7uAUFvL/no20j2FPGiKrGvcdX6Yr3t7HS4YaCxE0RcdEkudFpYrHt5CzBFKP6xs6LvVFK6K00F2+DHoLNnqm9dPM5bMsvYkFGgDhaAm/wFpDb6pTyzs+KhwtQBDUgNap0WV5ULLHx+h4Y7eTbQj9d/TM5YDRVjf4qBCR4CX7qj7loFYH9eXZQojzvL771B/vn2E4vdFl4Fl3przdXFreyBR2AsKUujJnnTpkapo6DkCwQtgTsMZvXVSKe7gLnStrbWNfjVQq5kgAZZjrRVoBmPGDu2XmYwANIzHptfHVi71Ksdy+eXufyeKdQ9uZWftLKEDt0PemAk3uw+fFNctlksFADn2Rt84BdIcLC9D9DbTzS3wa/sJni7HCzT9o+G9ZlWuQgY3bd0HJByhTGuQL+EX5Pq1XziWAqEqJMiHxTJ1jkKPRIVRtkH4ccMNmV6U4KBLiFzuuU01/A6E3dYTZzA9mBssbiZ7uW3ayXn4EHn45COGRD2aSwCzgz0RG1Z2bTwv3200cMVcNA/yXC8v6RTURF9OwHI0cJg/C5xXPIVjpR3m4Ob/Mw0jwy6PifXEZzXrEnPN6HZ4W1H1MVotx2l4g7KeIbBiaQY5/iRxdD7gQ1hB4pRc7RM6oWuAL5eBM+4vYWr81sHSsbOi5tEfMhtHiuL/6zq75jC8dXHLFm/PpMRbV8clY4e6qQ++zMWe+tw5Np80S5XrF1oKZR70fDYOU7S0sIRKv6Jd+nPg7VifniSrCq/Ix5/RMX6vjvwi7KgV+DlskvGswF6UIu7Sld9IHQq+CNDWt5lst/4e8AwtOsz/1rbDB0vlrNoR1MlyrycekRlp+eL4VbYBJTDT7+K1L6lseQdL5BUj4SEF/UInwNx0+JPUNFa2AKP9GLloLZtQB2aytVW7Foo4AeiLXYtKjzWOpfeA12WXzhwZqOtl570pcL4OcrAIjqbNpyzuVAXUPDv3TXjAnjNxRZMFCTNn2huLPprT1GOKatWJX6ovEyPjmxVU8OjBlw6eW9b6rmF2dk/pQ8fXW+e9AeennJKpKSG2dZUBD2MzprESX2tkU80r27cl4RkQNDS4/rHTI1rgEbJjZnHDayrrO9G3s8F9xbpCF9OW0GxNhh3qSYHqC7HPpEG7rBEH9azjcb9DvWDAEsQrfTg5N2MtcEJbZek/ByOadS3qm3FHDI6fspEH5BFlNhxgPkOxXc/BvJmFp51r0GAq2gOprNqGwC/A2a3cN5S8uYAOXnmLlnaFIUmu2+/nvus7PkewNSWe6B2XvCsPCSJHxIPEOamHmTj2gSWT5uTM+PYVADXAa4moASLbW70oR+Uqd1VlP9KLSkjnY6jnZ7PKYNRCqRHn9ij/eq+cmcAoDuAskcUXI1Y42C79BoSYGcvlk8zTPGAWitB39KSCm83eFIpkPBOWYX91f0ejFuaMZMqvkoOdzffJRGrKDNGLL4f7YAguTB+VKkjt5fRG71XBP8BTkVN6FwuJfXuJ61S+L/xC+t68EiVZxTJb+Ii+Zio0OtvCVLDxoBmE+xeEDJ+Nmcu6XuYxnmOBPXK3zJQhMasWutTAVmv9jZrkfsStUdOmj1h3SqKjZSWjBIel9kp08nc6Z7DbaCdo5IG/+YlCFEaSHR/IAsiPbkbS6nqU5K98l7HOXd1zbv5UQ1BfigUteY+AN8ZNq+umjFk1PWtiif6kf0oO8h8FeYTB2pGKDEiFOfHBXg5BzEKJgijazf5yeXnrsp2juK+76vpJCSZ+5CRf7810xALz+0DtxJjLuHOLQzl8S2eipS8nkGI2uRk9nALObrpm8XOxhEHDZtn2rP27Z0eIxlP/2grtLVXWOgZGj7EMRfVlu4e+vTOb2e4JwiMEwobTS68/RodSxbplFLGRL09dbvYaAM+1LTeHqH2BfJ9w2sZMsRzQQbeTm1qUzSIrz9vuygJbnGa3HFpNAfKyLguozvxS8vtA432bwxwllFePpVCa6jQ5s7JZ2dKjwVmevHEQXzmVwOBExFm/JMLmnv33YJtB/eB0DQQ2AL1cRsYdsBVD8LWUOZj/aoJxSiD3WVzwgODAfHT9lBiabY4x+OdRwbBU+mSFv3cxhpPRqnsGzLlQ5iVBAdqo8xeynCYq5t9HCESYoj54eCBt9wuJstCvlR7kT/82+8b2Jq8fA0wDnbTrgeb423urzzeQ4TZOqSQSHIkX2y/qbnSWMJoPlepDPX+45AHntIkYW4ICgnen7bw2HNbou0aHIKSgeU7ycrjF3LW+mVCdCZcF00QNfYCDCi/L0dnn2kBiwTZlo0xLhZ5q2aWtb3G0gcebZsf6gSAkf4byaZ8c4z8sLT6AqAflTXC+jAtJ6xqFoBG6d1OfeZ8gF5XTVn3oXNXp1F73iIavKsWvi2nheugABAPlp4U/3fEO6gZglg/BB9OGWgHe1DBly2AFjXG+02EKfl7F2S7cFTj2XjwHAfXmU/8BFsdvFmHwdKmgRJjHpRaZln+XWrpLp+TjKY/JSv4hPqWu3cOGow0V68GCIzFPz3/hJzpYQfA/sk56xMEhZKK7tN8Bc0hISMo226rNjOuuYBg4KfrNeM4atm40+18ZLOYpH18an1uy2jiexJ/Uq1V3xM1PhJtzh2k2rI2WlHNFZjoT7PfFJgJCfWmsTWQBl0ExIc2/HBl3fIjtReUKDQ6dzPHAF29tKP4Zz0XjIiHWAZ6JI/kp9X4gUm1177R6jz3cOwIksIZe3M7UxXGt7bx1lI6abQ+Wa5vZvHsFCVEUIYJNQ4xhWGkJn/wjif2P50inxP5m3TEXfZR0R7ZhMvh3l3PHpV3rOhbXHN8WTQQETvRBZ9078YI2kLTuO19SzuXf0SLZ5zAyZmNEavC4gQgwachkCByXkxKK+Q4tGJae1CVMt7B81rLzsWCFcVOxfrH8Kqqi4Demtgp+/UCDLHxutRgvZ4XlW+oNt/F0rz3hRCEAVrpEi+q10W5ZRNE/pV2keo/I4dWRqcBvngnmlHdpKBPrfCDpbgcVuU05WXE2GSPqfeyNFzqZRCGwWQvpdbUr0Vpa3LrAyQhZbqCKbKcBZ8BToi2/qDvxvZW8Axp3B33oNi+yInzw/ULFFyBt/TVfZDaLD0Mn3UIJz55O9dxU9UiJkh4RclxobBCtWM3xJFwG4PXxB9rxiJpSO0h59QKsqrKrvFiZdWuOTzvmae+F+Es9mra3K0zJnoKTeq3KD7WH1Ak/LuUCTfnCdZ/Td7wEBh5J9OAYzAc6WPGEMG3a/bncLYcFEW47kN1Z8HiTYD+IZn8a9JA7k5dTYY/x/zRoDCBnC5RjvRU0Q0RMwaCqpzr3DxfrhNWRoE0pWP1Y53mrGRhX51NmfniIhiNmLudRvtFqcD7uSjmyCC50GIppSgaYr/HanSsAqLLRJFoiS1EdQC79hQvflJeFmiEP7CVBD6lNBUMrcQMNzElS88FyLr2aYbygIFdx4eQlXL9VNHMic4Ky+pwkL+uzvOT177XDJsrA/xwToyzfUM6bXPhz9Cx3i5Y7StvCWAv+cG1zIq7YE5K1erHJTSHWFbkumOJ65FdNN5hjAoiwK509NiOcaAluE/Uly6CjsAJ0fu4LVn2t/ym6K5PQIhXj7tBg9dDZ4BbWV2yAQgNKqQ8hi6/oHeMACFHThDejOVRp+FGGaQ9jFQwkBtSN/6qoNCLstFJ3GuhG+ksyRcAdCMygmtze5YkkxfRG7TbpHU3a8Sx17/bAAn6x5zXbKkN6b7YOrIZ03GjHnu/wJwxDw8kcLr0GnvclD4UN+5IfHEbC5Wu0WMdMJW/QzzZxMVlc3x/7sPoHnigNW2WahAOh31+Vytn3mu8f5wT+IYh/FR6LuKrWMwDIjfLR0Jvu9+kHaJj8pHsKttxRv1NR97rIV+X4C8Kj3sceZW1y+ijNFg356EYEUKf9zFf0J7cYcnyXleyL09RUfhUIvA+2bnHQOiNGk4hjW6rtN4htUV9DRnf2huV1pdSWmJXSsi7dn1XlOLBPgAziq7NjH7yoKW01JlfJDcZ07Pv8O3HjUvGCEPBYP0d9gKwK1JS5z0kF46qe8lr2Zq8IPw/5cjxy90jFzI8iU4PhZ5zpJyUxcon0JZf6jHi2GN2xjlsNv0ObozFTxd1Go/uZUFnlGdegoQM9wEsFdZGSm4QnPhlHixZiFM3DoSk/ULfYsYf08gNSM5bujycW5qsWFqG/SejXIBj5HVpJk8+yTuEkVa3cZNZCTXhrJAuoZw7QrbDtpbS07FrG4oEI/P87nGt431Tlbg/BO579v/y8Itigea157GD0G5CA6jVLRgHEuipGkxZpZfV9fMtyXrUJU6ENGQerrvp2ierrtYkit6M9t5PehLIV1lW0f4zU7+XS2ffdeICKGMem0dyGeiD8Nu2jblS99XzgJEf7mQMLbxJ/TvkEatbL9HBYgyZVjWlBbyrOlNRHmkLk/nNCEoCjmWCj+jkXfTpR9T0Qmc/1mj0E+JHyroKNUp95Leks6dP7z8gj2Mbuerrx27hl4aUwUB1BqNSX0OckWhIgHVXOlESMAqV02xdA1LbzXFltJf8r9cwmsKJMEHO+MmRGWEHLrKddkgras/haJ9V1xuUYW3wRuKnmRupx+0TZDzku7RvHJnLHKofTPPSITDKpP/G0bgOpPN4gFy1/te0SfkfIzM6HuoJs3L2nKD9rXb94HTNnBv1Mih7Gy4g41RGo0ISmqxppPB4I8LhkRjQHlv1Sb5Hmxu/RLFhIl0dejNSnZ3Inno4zigPImjUhTHjY9hJrQEY4BPFPblIQHdhSlE7LWcMqWp7jJdh+6ma+YlQpVjyj7jlGAcS7aAy8F8dxJ/eMC67CBNAU62fJWEwqvgJp/VjPAeNsaQj9CDR/q9A1ejT9sPkLhC920gCW0HlC8pvbmA6eehngv9+/7sMiVlhfG4vTzOnwLEaEK9M0IKQIPaZeh3fgYNBjMJZ0YKwlPfW6KpBUrCLtmVhaIbaq5OGvqAw5ggi0jYILia9qC08XvdYDoB/Lf9Cc6pzF1jfsYkjw77swkmiKiBnJEPadk6RXM3eZKJ/2ZSrWExamQ1X/ubaywkZxDiyyYEtBpL9xuSt7j9HHBd0yKYna6JpoS7lg/e9N6BEuMrVyFSDLhn8hlMM/0hrfRLo5eF3UC76nSCvQLH2C3h3FFER1ihsBE2l1rs3rtbPipBO6XVc+vIMyfmEx+yB4Kto3bSRneX3kMDcehTHscgcQ8By/6DMUtIiBYc0GLTHFYD5Eyapk35LBJFgUgQ4tVWCZqMvlydkC5e3pTsJRjUUNPYirvt9gcZz8aaFIhEtmlCXdzHHUwc5bizjnOHCbEgFEKh1VTmAZTeXlwLqYqeSwjNOHrQiRY//eU1zU7+RrER76pDwERDXS2X++oArB1fYujWfddVeYW3BIYaAgboaVsISom6EYgvCssO0KhhRcZHJpAtymJzGTamgnM2AIAbt1a/2CL/6ETGc4k19fT9JZxgU+p+ysrUCXotXpeHCKi1+ZMG0YPo+epIQsYUwnPRZ25NH5YpPZmi2Uo2jDE6RoUHiyxap1689xzCApeklPMxxSdVE+8aZmy+Dj5oMlfGRUH2/EWufECLVA6zm3O4Bplg8waWE8qhhjsKcG/NheI/6g0gpisjb5dqWKTwlK5Uaa1lCL2JIV12v3yDMc16podLlY795WnNUJNchHXDoBwh/nReIJero45ZQYfZi3teS/c77WlNS/MlIIP7G4Elv5aIOyFrI9FnXWDsfHMYHm4HDFzpccXvu65cKBimu8QfUqzfnrsldrHw8iLIjHuDi+JfN5h4H0evq5CMSltSqdfWxxPXCr8yN1GQVM6oLmgkkl5vl+jF8uZ9JkvmJEbDl6wYwbsDOFMIrUlI+9TZAIJVwlxxtJCt3prSHbdiufsdv3bArbz/1DOOAOIU+ZER0TNzMzMNZgEsAhU24UPIyu7xe0LAvjeRPNCpW71ZGeuz/T1VMnOYSFwyTP4RD1MlrY+QUK40w+YsaMfepgmbMVi6jJROwMLRk7l1d/LnbLzXzHGFLTiuH69QG79f8tCsAbbU2t3nqJhttpdKGIt6qLLNMbAiMI81wNyzHKCe4PgtVy/XT42WzqPcEmfQLE9mYHX7dfLbS+okiNL9tGGIKAIny5T3LmRAra76SZF26eQf+P1pe3VyLU05dcJlnZ2Za63fFPWGnCbPG1NBEirG5b0VGlT6QAL0PXdiUc3iox6KDF0ku86ZWUT6SugFDZSO0qM9yI6m/xjNETHT9kIvWli7hdP4bvU+bGcpC+1NwurJBGY+ewbkKMtHKK/VwpBjTlLLhNRA72kF2RUprvviwEDSlKeyM95FEV+A9wH3Z5ChKuxUkbX1bCMtvZWBrx1PvMvcYMXMcB/m1eMWiBawP+HNZjmsn81iRZqhsxe97U9yR7pjR4AtMmXYTPHx6B0q1YKi/y3QCn1nVIfBxyTcjFgO/FQMgu9beqGTLvusAJwENVWL5o85xz+c5uYZlygGz/aglz6egHjkeBu/xTiuJ51ucwd12gKLoMS+tbM69cXy1Y1wYiFzc3RwbBHY8rn0Rvf8Z40Wm6XEs4zo88V5VO5FCNiEZahMvFrK5wvJnHfCl/JMJreuiLOcHhd0Co2G2p7yDiJ3iZpjxEH59E8htkQUAsRv41aVK+EX9rJdP7M9DNxKXho/zdeSxMydXn4tjXRCNFAQQBkKvCkAHPCv4r3E5SAz2wQrHhzJFo4ZzmwbzZefDfjXwyV/0G8AguOEwQPR9vVWsnxBOaj2UIxY36tW6U0Y9CrDr8UGsBmlMaaxzZNw42Iz1IZPWLBeU9dk/SbslqVv+evxSCdeERShhPpdh31nwXhr6t6zqCFVZAwV+lLe9GmOUE/XVKgpAg6eepLHXrYcKx/Jp62sl7QcT5jI4YFBfnu7yHDpUL9hYHzJhHtYFyiZC/ETEKTb4eAWTrjShr82MPWDrjy/bRumhoNv+Mv0RuPvppwrJuIhSMusvxP8JRLDTtkSVhPZ70HwX6nj/YgBuZ0GhyblPCliqBXpV3+TLAvvomYh3MO4+T6ZONF6oZXHRlOPtQZkS9HpXjnRz/hNRN1GmfTqDWYHWrZQa6vMFPCxbEwWl6MaOilr+wz048hAUn5w+9J7IVYY7XTYDzyOZ5LK+I1J24SCCc7pOkeDqVSkRjH2HcFESHw+nO8r2Edmk5rI9sR126DG1DHs5GeAYGPLSGe6VqNDkwwm5Cfqq4lbd1kQO12T5G5X+2f6emI5l++aKAIsJSktakTg/iCbWGP6sUcHMMaywcHCHvKQoymDFFwO4qTJAQ6QCZ9wsYWvxGblOkd3IkNMhCqdNrSWDj0DKT3nwCQa0V6IPaIM7aHFNOBNuFRWf/rBvDT93FFMgd+umrZhFqyQ1dIVhYYQJGEiUP3x4epA4dpz7JYzTS67kGChXFteRpJwla/V9BUsYhx7ZFtmB+Tmk4hbxEC1t4p9oeYqvSqWJ9kkCUK94hxERDcXwd4hXMy+LHxpbxzC/ytvCZJNLbAcSvz0+wbPcxSunD9Oi1rT8ySvKRt99oRH3ooM3L/MMh4OzR4jQ5Je9yhAqj2k9T084xD9gjdKQCOnkA3NQ3CRZQCiS7TgsbuAAaJw0BKBw6FVk5H5Zfr+d7lHD6eDSev7+VovjqpuJ42BOx+qOEfa5sHVtshpG3SI0ydnseV1CVnROkux+k2cJOCb6xZOOt9QqecRAQhybyTr9uXi6PFLSD1EPvcFcw7QdRFftgo8YvpPU9VCVMXhOj+uJyUloowe3K6mcgaQOtKzGQ1vbkr8MprD/ILfIIo6XHCPbOsOvXbrO26r/DEVC+agv/1mZp2d4pwE2m1MLrioG1J+edeGSm3BN0Jjs2Q6IHgIu/U6jXz18D3rIxlB24eUQ1T0dfW35H1igqfqQ82//TDZr/R/vcNWoay8tMpfJpxckyfMOsD/c2Oo9KYiDQVCX3/n03YOw1+rU0dTHlQ/rWKUb56qb2xyJEpqyXxU8hf6pREbhBCcCf3xG48jswE7NURhsaWiNl+4eHNEWGT0yb2zBXTeu/jwgeodrE/MPcu+vPfC8jfUDAgOCYxqUAdk68dWflmQBbVX5+dTEzdS4N4EQuWZMkmHVmdAvr6ouG3LTlU9u0D7uACy0wCODVuve3q85Wede/Hq8ZHHUkGQ/C7qdU/XXFsQNxipqTn6+BlCriWvMohfffevfbZ+8A0E3NpojUQhfRErSoo+3SYymB5G6YxK71Vj0Pskr2Ks64v030dbUye9mM+8WSYFZkKJVTjqm3OHpG1iG0OEZlpXC4/pEaHxgp5QPEIj+oR1318oXEgpTqR2NS+ac3HIpdD0NwIh1E5VPZAah5XBJ2dRcVTrbVld5B0Q0PdzioJktX4o5PBVHTy1VTBGWYJP6DmmlwXUsDBjh29IGtcVDyVA6SCXAJeSl0u7HXcKDaJvt2sQPcfsMNtbQ2UeGH081hnB7tfZRZmLpoGrZ/t9nRizuHYlY1ZC2/h7B9lnOz9DxkyfcN7Lc0wai33//KJgbcZWrWREbAN66adH0EICRhDF6YSrlop09NfZd0LGsif1s15HOV4tzNKeAOrnw8ywJh1fEsUVyNK5wfnItu6SSkMweCe5YgcVEJqclBk5r6gHi6EFhVdD2+jd9P2K26F9U+5Uqs340cFkrHUVIadWrahXKS55AAL7R7rN6u9AoIzg/eHFzEH2mKAq9DdGSCdM5RTYnHLC7hO4pnaF+xVHnmkUTlxcBWkVKdYnY46S21vT3+3iRTk4u8ufS/ZkAuwUn6SXI+xep6bd4Mb1CQTqfsYZGfl6FZPPa1uCCOe+ataosyN6Q2T6+uyKbk6544uAFH/nioYrZezcbQzgRIz5jKMYDjFdTmiCHUXVirgOIn1zPnkUD8l2R5TPE0kax269J2j9G6hDwZRdPoYLS0hrNxipm2+fTHgI7WgQBmBZG9PRrZmpqHK8z+CbMGXh9T9U/VxIfDsNDhpAfCH8hpYneNjyGsYeTvK7CIJpDlPTTvNqUfZ115/gdraxIaMdVu6jQGvJaL0tYuFB4qsxslZHBBRk4607Sjx38ml6mRCnBOjJqsfoXppiT0/joDbQSaD3hYnQotioEBPLFRhqE6M59fzGb6OwM+x3AczI39Iy75WaRoe/O4INUo2PGGiBSqqL5tEuQebHIneVkCCi+WYwP40wfBFRkL8jE4vKLoEKEUuDiaDp5Ho1eZCK/FnCpFE6Jya0AiBr1P5MEJvrpb4/V2O89rSVclw8xb/TgDdtsqdIW7Nl6+48Z6QKotpMc5adSCGFZGhfbY5fcUoSvOykWUhzhK66cGPHpOolzjenECnBMWwJwSrG75HsUxpi198gL2ZB863tHMgr5mM/Bg8lgIyQ/2xyfFCJdJ6M/UnGZlhFUk1O8eUu50djF9sIC/i/U+vJsKynNAewJL61G/sealZhiXOhA3J5vWZKytcJoX/1FHGiPKHbWNjapMlccFBhnCdKYxWVVWIwiDIC14YywCwgx/bXJ2ZmDf+seoPSBsRmrDlkkhwE2c9iHIuNh3gV/p3ycGRRVfBORzCMN1qyt3MLvRvdHDd8PGPVJQKzmbDw2cTtzL5KCRAq+m7ensByzcPl97DkBFznbJiBJZ5jzAGRmqkjRVfzJcT/pRd0gf3jlY/5cXbpFzioB/fv8jXQSqXrvHyrR3HU+7TfzwJNBywCQ6AICTVtPsqWM9eZJDgJwsYCXjk9eKKgyUBxWxwrlb50YnuoeHx1cKE04Hh659LKBAEF1nQFwn0W8rJd95Vz7sT1U4jC+ABO0spW3LzMioin/h3VCNIiO60ezLn9FcqBwJ4qJ+xjZz+2gZpSUOO21Nfi0AcmdzrHCLmGwX/vkKFCryS0gNad2Vxp5tDS8yNaGpdSr6ksjCdSc6Q/LFlU/ZiNN0JkbE3IWFAmFkkeMf/DF7udkfJd7nEf6F0flvIQiPF+P7rhvhq4WyYG/ujBV59/iPmVzjsHJNJtdhf1CvgmRf1VpR8z/MjK/R25yIxJdmBtajFPFqlXOa7y3fyWovJuuRB3DOVlDkQPTF9TdnOS944WJrEp8M/OevSsQbNmw6gDvuBPNRhSwmaUtaesNz5i2KRSJsakcVEelNlTUnlnEEfXE1K4hMSIGjkHgeuSlmGFxd/vcx4EB7ypmVxAVrCLoJ6jYjTe2dxszeR7Ee339h6XchSBNlkNAzawPjmvG2Zyr+y60FjS8R4IWEaKlcrlEaTLmlj7p9WNM8wdcO3b2TF+n+N+j5l3aPLqppJEEJjS6jkqY5yUOThL+ikt1/pNfG7XKuXbbZRiYDgKXb79twh+Ybzyhk4bbezodOE7QRRWeZlOmfVddfmlAU/KHOawNf9R0SK7BBsbVPUvoP/2c6+ifyaioPDq7IGR8n2lX99W9WEzx+bB04YOc6Qzv6K4pty6R3c2WSshipY/G/Eu/ewmL5twp8vwM+nybqEMuR2ViNkE/muOoKAWbRXBkCvFVAkWWI1nEyLW7jaeMdycmx4vBmmKQ5cMo1AYqhiFKpZKGBpp4vdGIshKJQe5NweNDj2VFCKa1T6nN3ySjnPuh4L6py2+SyBUeOAfZBPHrqnhPmv8GLaIf0CybLOzFHsrA8Tt5uYqCTBTp9SWbUnoQWTGf8WUN1edPYQ6X57ChY/e1GrbHj5YZC1pulrACOdbZG2EPTGQDFPdiqOALyIJe+OjLCS+9AnLudbqkJcLv4roT2vQkiTsiLI8WqVs5RUqlaJ8GFhW6mCbGwilVM0i8vuFpQyn0z4o6jB35J0ID93LmhBDHnN+9MZ9q/pTotjn6YUKVqGNSbPGe5Zf9qh/G3zc8IksoWcoWzPJMCXHyGos3FA7Z/YH5GvfmXLjPId0H1dM66vBJxWdRkeFaYoeyZiqNgF5whAvJihHg6eeKE5LecS1lgH6xRIAbBvE24qQx+2EfwfjsGeMBM8R89XeanHUwjC2YAVSPjtTY6UmpHWvibregz+JSc/QsjFkuH/BTd+Yfhzo9fRdrPDNq2vXgO0MlDJQm0XSmTwsz7qwqULZUoggwUcMsCtGybp0NHQecc5rdsc35yYGpFPnwg11FLfQ+JzCnJFEHXUJXs5wQ4rMfJhRNwJo3EZJtVl1ZZPfeyd/HMlfJ4OMq7e7N3o3dQm+WMPgcEFwBnS6oVUA/5TEY7xhDEX7lweyOJmuvFEiDIJSOUDHGRbF+msjgrDLaj6Aj+jobYk4FyIyt+4MnZ6oZjUsS0LGb8dc1b9+ysOBq+jLD8Yowyx7NDhL/z1SASsKa0MdneXHntb8dDlleT37M+JrALUYyDqq7K5Y8BRL62u7GYtUv9OziztMKmUEaRCYjwyu95pMMK/4zNHDksF3Mn1nxiLq84zaqupq/7yoE4pO5T/GHbGSJcxZD7CeDdo1oBLhvzZ9h9FQqemxx5i8rqpJ9eVASaVsBy8ixgc2RQUhNSOJtKPTbZ9qI1rl4j58/5V10OyWCRq1DOUnfRLLGFtGjJhwY0mgeWaMvvht/PXZBSCbPQQ7St/C5V9GfOf0mfU2OTmsvTqwiWtaVIaziBgK9lTjhNYg4GvIYx7ctAvXrtf085qIQBB3GO+0k91PMX4o5jZAcF7Hj+B/eOnmIZHvfkkkHiTz087+zPwC35hzfglo0NUj5lh/Ow63tITvwQKS6SEtohIYyaKR80MFkkLNMoapi/5tN4SzImD72oiDsE+n0fvaP82GavHPHNkEJyRp4SYyZgkU26q9tM9jfrKuGZ44UYONOoLSkoD2v0n5VlV7nd3mlToDAEPZE5QcKoT9+e5q9kyRGq+F6KTSw0Afe9eDFCZxvFaHSzfh7rJ6YPDyVQX+OEOSN5KcnbA3NzHpy22afdW0+8cCvD27Vu58oUx7Fy4r9qYjgjFg2EG29W/WJA9TT7WwZxBKRbMCkM/N+IYlUiNhQKJFbRqSrpeno+TgCm+z/Q0kpiPheXTfsCygQi56EBXDiQUNZxB7ppn9/1nA1sm1J3l3Mc6gsPvB/yDhDrEt+iBdD7G/t9qg2Fc6tZFDG5wXwMISTUuM145ydDibTtwoj8WiwY5txCiH2GN4A0Gk0inxJ3YNR+cFaV9RexyV00AhGcBXnTVz4Cd4UjUklZgUtfj5MVStghQE056Ip1Biepshymy4aguL4VZ8Pa6GX2Mo1x32T6ChFDSW2RQavJ3XzKpuOtYulplxZ8uNWT6Dz7Orx9WKNCJB0JajzA6ZMQwFXa1Qjm6B4qGkdlQcosvDAKfrm5Dji5bLLVbjDxb9IfuzIkbs7F21m7yLursT7E7moKr5PES4hsHbVkRWVxYNrVDUhmlGamazb7KnhGGdD6jJvsVOt+SBuFuYHYp/H0wFX2JTYhlXCXlek0O1vjphDtvdSVpbo+eDe1kUlT7yWe3KHRhgreq5TfygTTbT2P9p8uG+ClIgyeY0Z0mDN44mkHuX4Zs4t7yzt99wceQ/C+n5m47jbm4Hmd2ih4RyYkDwrWwhp06wfWq4SX6cx3JB+lWT05QWobsG01EelZtuyz2ZT8890ZQYvMG77TkC6aiunjpn6caVEC+1sNN7zYXRSJJ2FP//6VCaitY4b6DBhOMRlsosK87HWm41WkwMsByasfP9re04TkTzeVo01fxwtv62UdiuTlWbaeW9ik5dpyMMaf+BE251OugtnSD5rP5LXTQoX7MZ0yTF8IQgVRB5K+TtT9AnDZOC7i4YvyPm1MwPtaPnFCj8lfgeOHmGNkL3M/IeOifpNwKxH5jaHytH6UIwbYX0TZ9Lb+wX7a/BBvIrF0CH/NIQX98ocDGx6P5CKaNs1xMgSuOlfCDbgjFYkTwXLGfCmg2MX5SdBi0m0RVlzPOHrAy3gbrEAf2Vv4QVOL+d2SLhUiuf84niJvtpzwZmm8z5OQeIcrH17QUW7Z6fjUe64RIl6PUmpoQlKk5wSDlFF9v0HN0YexXGlya0UwgzSHM0dHWtnHrte5tCWsf5ib9gUmqKiBMUzKsRHVgLgcpXw+mb6sLm5eujU4/MHdnUskwjCbhrnxLR0fJZRsjOqhfBttQTHISV8HxpjiW60v+57XcNNYY1tLOjZRJrwCyL3zLDcTdfQrgsz1bVqVwEwpAiKL9KXvsCeL5Ndcifhwtsnq3UbCmW5+DJykZOc09IClRnfP4a2HF537qHFPHvrWEcLQUyBvg5zpRRyg7jbsNfGXguBCAeFJSEQF9n+1/97CKdcBgUsnr76TfjA7AqHJi6BbvXACuZVo7e6KHew02Sf+sfPxBLNJyqN9RWLvIGqgXDc2LOUFb5bQzeTpa1BHwNSWQEWNHQV4KF7nyDxBLNI/XmMXsupFo1UlJOTV3DkjBV2Q9qggtYHcDaV/eMmOtAhBCdk1lUamtUHrYeMvGtQg1Oiq2fzwpgRdXr2BOFmtClKLTErd7Oj9bwKbkWRft3NNMLudhxMU7vQUPSyG7WvkkwZmjLf0C9M4befX3EnkB8FSF3KO1rhVDvSMsadXxBfAApybhWQJwf+Diik7tNFzu+BNFLJh9gpEaEgCJ02h+wgOKlRBtcIHxgSG1gGvwqrvYmkLubIIBPlhcm+iJgeV8JltBvi1TBu7Wjl8ZIFf78ssKuM0xuL2BOWUrNtnSLvfrWMZ+/qRWNT0E/L2Kd13vKmqWOEigUGwnsyP0HgkjE+TuvCCP9TJx2e65GUbEBIrt3nNqtCSoMduIRWonmHypSiSfmbHcOVKKKZx1O8x8PZBIFr6uCgQMsIBWLpmlU6hAAwUh3ToXbQ1sMYfidKwqlLKGUgXTzc0N4k5xSz6nda1Te8AzVVE/MzibCxHp9GIHy5Leh7SIb5sGM5l4AG2pxeW9zXsnYGzxPaeEGwOGbn1ljTZ2Uk8QwQHQqqAPbYKYesDVYDBmaMeVvVr4y4E9btfEN4KKXhWx6JGP09JEy0jI5/34ACqjMgTdd/MkYLS2h7lD6BeD86rbfKhqrvJ1b+34SpSB7NE3IW8wNbTOaCBrCrH4k6IOtlrS8p/ONsQ9hJBep5w1wBXi/fNIM69oPmnwtI4yN8KMLnSjBndgkvQbDey84hkM8ijmCJnI87OMj2jAr5FH93pu1IO3H2TIzRpmK28ED2IqtViHlwuW2uetkisRJt7s2myJD1FFBumCjJnLpFwv0LgGvtJDK1QuhbcppWRFZ5FTld65yhhyzpzDeYW65B/kPjVF0VUf/XrwvrliyoRWSJyzQPYXQkBU/ogG9Kkn+aVFHt4a+EdQJF3MiQ+/9I/15Dg5hWnrVIYDtTZFwViI10++3zWGX0o5PEs3I1RweEQ7TeiA5ddpXJoVcVPOVBG75eiyuk9L/rPRiGbqtF1w4oxN+nxWAFpXYRIyBhv0+ozOSaXEOpJ5NgCBSEtcGcMO7mNgbZwYbGnhxYaWYmiIzrCGaSF0lOtRYAa6mUAUfB26p+zwK9NsurKGi+So7EjnLI0TbgfsWMuN2LVrhKMjl2TysyrS7k2AfTRQTQKqX9OtCquV/Oo9USmZ5GzAk8LZxZce5mpoMMxXC3sl1p2VmWAmRCzL9gRj04qkA2MoIZkxx2mvdbkd4jISvqHAG+0nJOz4G1uwRihFjI0DIl1mczV8VJYwZ2KsqbJJt9zCG8V2oOpUIYkj7NgHrBf36F3ZDBvR8gRZdIXwcDJrE1VmtjCf1qSrypbQQoxekHHtYecZsqJ/skFtrbEJsOZXTKdWenVVTJs48E3Ox8MdWcdP+5uQaV+a3Ko5m/PIVC13mc1POk90o1zp2n50O3nmT8Z03OUrUwKCzbJGMZ5aFtGVEG8A8DL7XL2EXYeDNMk2mGjk74Ehj2Blx4SIu7SX7FCG1vSyhLR5PEajAqucWgWaTg39fHfKQk1NWtA+wEjV4VYJDiJJKM+eUci+2l9ymKWNfeUWSZulcCinSBMmUUjwWXskVvG58FbzAMZ6wuPAvaeE7Pz77XNDXUg1YlXCkVYNnn8oOJW1im/4kbXQ+WJVlRSU/oyiBBXs9TmVScD5OS6iNnTlxn3qhrSUd11toous9oj4Yvne4wLodz6zTzEST2RwhUU7PJ6bf33tpLpDl9ScOSQHq7g6tYA6mTSfRclt+h6ycnQ8L2cT+JNVMml6bQGjtV37IrEzO5mH4THn4oBRqfN00hVNyyFTA+Pa8aj/Tyqwfj/qQSJhkt6pAeof759NOOonjLngpxVf+N+eJxncqb0OqfyuMuCYnrFzWJ0Upg4cAqT/QthEqNa1HgmtN3+pk4sgjhIbl2yM8XmGerIYTbpybczfZR+U20btnJhqc6vNu8tGIzB7iP3qPTTZ0z/EzpYa9+fZp4Fxxc+Ver21f+DAg4j0EyoqJAqPvCfBOmNnAvQbS28PAONfzeVBb7rOG35wghie2V1Kdg1N9YGwdKzdaURg702GoGkFRMrJrd+Illt6xAMjiuPKw7hlNdkrWrglvR8PWSme2KSprGiN1dwpUnDXXwahBPS7j0SOS2H4bfzqEylnx8iO/MoX/GK1uOJChGxJmQYp2Q+WEe5JhCMB1SnnwH5AYmA31j+6zZULmQwRn5J815VMFBTyCqp5GIJ+C4/9qWGO/bLmD7fObJhsI8GIsOyPP7Hi63V1+RXFHwnx13Ei4QcRxsjfmqiYBoutJCag0AdxCvIew40vPCQnSPddULwdt4QeX3+lYV1QzV4FwmR3KWogvTJhWIecS8rCWH/wEprQZIl6eSb+l//Mt6tEdjSNxEqMVFncWYZ1hR8SlkM8Z1t15alkkLRQE064Od8fd2HCs/LkTk2wdaBAUCr6AA+P6wU3GXiIhjvA7JUdwvdwPl7GhAcblkl0uUP1p1w1BAj+BP0Ae9dcBSKFI8gVFOZ5Uqzqaxf71hIC/Tm3SCBQSEE5j74Rvm17X1No+3oR51v0VdRTdKy2EDGgQ/O0tzSWTbEgAMYwDVm4/L2oka/MV+LyOZ1tz73DosUUYvIfbotn3OIZ9GTEWz5TpBjG0kZiY3ZlQbx3BtSwAPkKmHTO8qUU2uB979ISSR9+zbpdhF/D997S2TiT62IujoVPvjs1j5fuuxYDaeE+zWZx8eRQis4vm+JEOJ/p6jDdbNYONoAlBYiUbvsl7ir5uE94O9jq3KKDD+/RwUJyrimo6L+Pk6BDLrwrAny5ZPLUBYuJhP5xHLOp6EnpBrf3WfGqlza+NMO1/Vi2FPH4yCPnD8+wVEGgfMaEPk7JNjZoOUYDGuvzZ/ePoydz3G90ITz8MvRhdV1B6mdGEHHBWou4QVpG+c4eHQZOU0vwFiAn7/87e1NCAsNz72j5qfq9OjCXIDhq5i1gG/PiWq9CLTUn89ipoX4BRbBobY7RmhWpJC4TN0kpNJ7tY/aEy7Rv1lO1INaaKkl9k7+QzJ8yKWIMpkd2XNhCPyp/YnEYdo4HfG1nUgnuK6lcP+9L7Vn8TGKq2aI1Qnn0Wf41QxHKq7WW4EiM9vl+kMN7KD4W/Db5yjhgdfXHLtFBdymdU/tCnItOy7TvtNDQdAXUx3X0yrrpCjRL/FoCtCMpiL/UN5sBXv7QujTH43ChdamqbQlJXD++D5xKgYmg/HgiItc4LxkPQa75g6GvhUKk61q9iKnxv9pPZyTBIG6IgokQNy9hd0CL8cgiwyQz++2MMLS2vKkTQvqtX32pxY7Chr1Vi5X8b00TZv/PuI5e3lfcrhVWiIgNMvkeUp4TOEWQ3OYM13q5O4Kshmdsx9Md/go5E9CtbJ5bG3XLGzEgrrZbpg6B8c6jjMykHDHK8zFKvnJ7+GY6cPy4bXkjNAZjWX123KopvLYNu/IgaGF0drvxTi2iEfTbDDiNsxqtuSA4QK44+IPDtwLyIUWWTKW+VptwWUHkC9UApeTJKn1zlrksjrVGV0opptNOEl7xC2qG/ARsbmtDtqQgOnKBmX4f0HLel/b3buyR6a0odIKJbvYVpvpzsco/gFZcs5V6I2DjbAmdxqPfiGzwQOChJE0AmIF03wNfi4szsJ92NEFTlNEgNJAjiR2Ii+Lu1H7jjxI06JqVI3FlUfdcudfjQ9aAz3PRPkpourxFvq7ILMBnfRQJb+QyN9lUEEcvops6xIFkh9h/j0SPChqD1+OpI8nm+HVCm75ltRx3qvf1wr4YUupe1nr8THuHK1e8sdj9xEHys2ivUy+2bNOnEREzkzY/3+X2GDBD4O91g0fJT+49VjWE649bTx9/RzHguwhoO7xY7SKfwg5qH6WwizAps8+ibvZ8G81s4vFQr24JOydG9DF/vyJ2Pwk7HHxqJ/KOzlfGtBJa2EdpeAUQ8hD/9awNMtJG4yFxC8VpXWgP/EDXeaohihuz8PaQ0sakT4FTiMMx6TtyBLN1AUys1OOxEDVS2gH0eiX++ClsqHr/kBJuMTDPqIXxTRBoSuU9QULgdzE2VeRg83SNL2Jg0DQ+MiO7U0g8GOniTS9ygDrZ2v6RReigCdTKChSujp85f4Dza3WwmShiBQBXsYSfktQqxd2XPYApH1m+lUl2PGa0wdim1Rks9FrcARPQiqxxxUdGpGZS0muWzH5KfwusynM+0hyOap3Cl9mzq81QlI4koA8Kf9cfkitrawYyG7vrlrtyMlCjJvWieBQHc25BtaivCsbI/49xZac8VS+0agRm+6fzLFlwmqwi4fURkPtHJmfLdx910wiCMZCek6SaQVYychPNiHt46vouLpxD6UAD0eHH3/Aa1qZ5O2fiVjgRX9RgE8/ExafmhGO/rDElUzBXpa9EhFKG0KU/Xp9nKpg1CQz1RL9JGOZWwHoL3W45oV5JJE6RJDOJEMvbZjPP9ofQLVgtgjrMBTYCCE3O/9oEqwErQWbR5TFvuBASEkLWFEwXJ4223AxUsWiQk5Ogr9Cskdwnawqecjvil2ID+URApQF0/ucj0OmmZMgmm5VF8XcA+WPiE6VsERbC4Qys1cubkEPs+WCuY0H41lVOUrG2iLrdMj9aAFlx4w2FnPbSNexkRNgwGjjLdXVG8+dYtBJcdjd+oOnyFpCZ85f6MRHyTYXMW1o/3LOL+dOMAFf2zc0oGOmwGb5DeXAxD5iPmZ2Hb9KIqvDsRBDeHxFb+Ki7O4Tzh3PWaMe7pl/f+fEVZKiHX5qyAfale4AxE7rq/cpJrTPTkIuq1tmLwWAqUrPHNTfO0Pv+y5/hLEV9DX2UIgJcBMo0azHVfuJ45CD6KQSOHwUptudBzlkRD2BlrZW6B8nzk9d32mTRD/log4tTvEG5u56/WPmr93UAN78w6uYvfXj6ruqmHFDEhVXv7L3TCHrOUM5WPoiNnoMQlL7S3jybHMCdGFnOyS5t6+KxWxyUoBcplcfJPGQVnnj190EXFMzxEb2V4HdSx0ZjKwXg1gSyN+1v6au1iW59NLfutjrKqSd1ckANfd06Xl38nXcVkHBgEo0GlAmdME+e+R5vZjyNXVY8yibQsjOvQSkM9LdnIkx78tSP4kQt8QZs8xx8wMp+E8mb3XWlbyVWhIG5X61IVHc75YoPmYTjec8kL5cmYl1Omg8p3uKRTtx6T3GY8ZTiKzu/fd2b/KJMntzDKdqyIMoMdMur8b4NSphZ+F4/1iQ5S/GBu5oQQa5yC1+6h/eguxGcP7SSpxQyKSMx5ODYko9pGqPsIBPzJDiNJBHr8cfZ0LfH4Qs/ScIzeCNQ5LHeK38YNBVmri2Tlz/kZPmZHhHQlrLwJGrpXkwtJzRRW/pAu1DxaqMYh5YSUswZtWFty0IE/S69Wx6MI9r34/NRO/QjnsYLliBYMeu0qocphMmfVglwgqbvyIsDqZVn+RmSBypWs9QqnHooefUZRQPDPz+qqaKyRFdeEV70+zk3oXWThhkDeHImLMkHHnsSj6eoMcXPAqdOWmmDeHwRAPNda/Bh9cShZsyRynZNfjcnPaes7hVHby2pzJsqu8HGimz8pcNazQZEn1i6714qAXLDRUk4a3qkaHc6KmoCiNkg72jLKvUvBLtue0vPh/txDbax2Zl84zX/DthP5brXnxtEmFsLYdfEYYrE1j+jAJNDc7z3Zh+CdLS/LcMp+8SvnUrh9BDYespEn0OcHI2SlKEZ7iZez8vDoTpxVAqB6eW+2uHyWggy7fiID1Xc32Xft8R5NZJYKY622VABxhNIxOpx+8xfwcGVQwcOsUZaPMTozA+Eloi/3NROYzdpJT6JeYLP8FUUOs7xI6jzxZPWyYHiWmssfJm3GFfYzw8xzulr9qM5haz+yG4FF9uTZjKU5DlEoogMUgzbxVbDzWtPdGH2mGRaDCRmaj7jzM1Fmnp0W3bsnHH9Whzb3qY8nErIgDnCC9VWVYJYMtEqbCyEuDrHlBiIOSAGvX6mRztMZ552jJP36U/RPD4bOeEC/ILGqOlit3irprZI9jzYjXTra9uB7dZ32vqnmwy52m1gMIUE3Hvh+vT1icde19zjrP6FC8F0IjUOPlJ+Rfr+FjzIGrinqA7AfDceRqZoI1jR8PAtxcd9YYPFjBWaGaXnMYH0iBafON+SxDSSt78pI9L661Br1IgDa5CJpVZRKTZLFpbP5apakO7wYUWTjZeFP55lXoVZQejQDQdyL4NGWbcF+WBZ14FzxN97Q5vepxlAfaXfEOMtsmzHdN3UbylgjWyIJGuYXBywSj6AHMIb56K+1+szlyAOWYJNb0QCm03a94FZ7diG256FSw/JI/4HrsuDClIJrH2mL886hOcqtXcA5i2sAxOQaqq4zpMr8Mn6LZ5IIthHf5ItapfzrFNlM64bz4BFrWmOIajlIknFJ5wQv5E3xobnXQzMDzZc8nc2detXpAq0bfxFbqoXVA8TCVJKX+6lHnUheLHZmSi22WtzdCHqfQg1l1Eye1x5uc0K4eieB+FhS7YwbJYLxBPV33KiglrPIbnI+w088k0S1vy8vNM0U4VBrld3jwdJ7jz0yjf0W2GicbyIjglw12qb0RiQ/ECieJpjTOthw9Lj/C35Uu5GCpR7sDGHXuoX6cjubJDzVX25Ue2Qe20MCPZv/bb7FMkVZp3gj+Q/riMgM44EtoeyidqWmp4QNo1U/lNqY/FDBpJn35RG14FNyeVh1MPay+7yarnx3qWQcuHfXnUk/lBZ+O4HiI4YEDlOyqJDxB7/NPbHVo9OXn2JX+dUb3jskta+r3F+KHMy8eFsoOQPKoZVV5gs260BqiPMtjQUe2He45dDi/icu9tFV9IOBNuDXGY/vfBUI/9Sr64f1MJRy77fOnbq0B6vsLAiRLowfl8IXGe2Fdfn6s8I9mU6sJqNWqDKUjHFsrELM+ax23pmRLxgBSZTYeb3N8ghNzt3NvR9UV0VzPGfKxp5BQwpoWX9MM4H9h7aRAmsPANjqn8piUqyN8k6shzK6AXXU8PgeGuYntQlP6nf5iAKYh2dVzCxiu09yKJjtxdkFOPy9qk0kMyZKmmZkmdWszNw1ceppssZVqw79I9qfS8FIGZbCKEtIUiKJpPVbisnF1iiHWm+H3bOTHgHQiLb/Jp9WzVL+jcHXfNjulJz+iTttEuloIOHk/eeF9D67zt77hMk78QcPoMuXCvHYSsMB81loH+YCR8Y30v+JaraS0PPqw+hXo6VojpwoTAiiAGuafVevkx82oXjxSqGu9N37QNFUB/ur9MYPIbT/KJHCVSTNX58gf32JglI9iasi/3ceV8Lz3blEgx1+TpNnuuTwJf+nhhzWsE653ivI67s/D1T+cP1aTKjKEmflvdxWF3kPvDxetbMMOqeyTzDvd/mI3bdCQKnADX/0PcOmrdR8j+7AcEsyJqgjzYL9/qU6Wee+I9vrHRu9py6w1pZRL2j9g/V4KC5L0N1sJGSOW1PDq3ndkA+leqXCbdVdr8G7vG+bUazUEGIAQmC0QxximrMq0uQK6UV9M6Myhb0Q3zXMo/4MMxis53aWzOoCm0xUNUc62MuzOcBGtHrLjGMPCwNfmuDGOPDBlw0zijZtvWIOExQ9W79N6GYWTY9wnlT5UpoO1G2UocskvpQFRIKzkcoYoJ/LC0TMomW+KCo21XL39zz52wlZi5Ask1kU60usMh28w8AzXRxFKMZcWXRy1eHux+EnsojvapmgB9NnYosYtZywwOAQl757DVmLwTHNOAvyFfPRyJo/pKg8reDeXF4SDdaKlmUk59Aux0tW57LXchte7V6U9Sep1R9qUpbBKcpE4QySCCJeI/1WNhcydHqZk0te46ilriNNavm0mKpe2uRNcTK55Z7DbvplV/gjhug9qUuL0tD5F+Vzt9ZlDWOUBEE9BFlgV5wjPjb3k6oWGhc8EtS2IyedSa+faPNBDkuWKOgQCQ4pxmgK7PtDYljxNhY1F+IZDZHUd2fttChoP5MzxCH8rPnQJtvwYSN4hv/URXThZhCYm5cOYWuWC9Tb9ZMKOO//7WyoOAhSNrVWtglcX8otnBdltIsvFY9MSfJR3ltei0lYMNVeCJ78HM3HKt0YSE4ifPBuj+OuZgPfO3ZSSg5pCucsRRYlaAFLxyaLvjiPk+/7y3nm66jhtwj32YgMgoYWbf81x4CXU3Ah3PdLADm95N5LF5MNCRnPZcUE4XJPADL9JtPb8GRp//tfNm/2OKr3mZ0+Qmy2JGtjtBkERAIPnMCsg6TbGItKzvBK+RogoLjvtZlQ+QpZr+GvXQqIbq1V2cKklbbWopuUfRr3M1zLpzn4+b7F0vtMLAyu9dpAceG7Q9OKZ9Fis0YR6XWX6OyfGxAOMLGkqqJ4GuU4//Yb6q4YR+szuKO8SoL4M/q8yTQY4rc72K7oXrw2ykA7YnjUQbs4PIri3Cd2t/JMJuNQfH3FPnbRa09sqmAB2ddANeazzg1Yts5/VVlL3JNiXd5y70oT+CU7HRwhgS6gtNjz/CivvlIADofMygntHzn6s6mCJaUM+xGFi13kW+PeeKfX0qQALWFvmGpqSahe5Ksz/niRHpW6MaAuQ+7bh4ozwxYL7czGL6H4I1GKGQRYNg7OMG+kAPUspPaBHeSYrKDtdt/IrD9r7evajA1dwv1S6wQbnOWcb52m5inRgcpccF3uqcr2d7Giio3Lm0hHh+1Go2OLC2US29f7GnzsLgzhlXNnawQAcOoz7bf+Zcy/RyScRrlNmdsqfz6MxYqdxSbQR6PavFmC/36rbshAPWcseXrJadsgzIqAZovBnQkKFOByN0wAQREOWKN4KIPee2XNoDN97Q4Xf5KFKTZbSuVyn03/Znnm33kp9MD1g84ERdeJXaeMlfXdLA5CgBNlKWF+WQ5pCgCiyWOALfOflUT8dCAknEGq+Fy+Biy+geiNjEiz6SMtWGryY/vAjg7v1JyC9lc5gjU4FerrVFEmepU4RlE9vSCQF32/Wc2MS9IyDgRz0mzFpP/EhU0kXS8OQxtFNCRV+6bXNhwSRstkWfWZupCn7euM7DdAN0zU22ZFXXliP4KQE+O8EEUuPTIksCENPd7FHb7tYyXkfasIPJFGnTTm+oJDBwlTORFtCDzDT7NUUqJm4N4uu7niUm/jkOVuCkvAvB731pUH6e9z0AeV4DmgZax2KVjBqqRIckoobsCDOnkiu587Kn4+wtYCiZUa0mc81XEgTK5XJpuWkzFtx4rj2gvzOqWwMEHoFrxCqISMINMLKgPGxkyLTWfZ5yDvK9+GrjJgV3OgesFkMoC+Bi82X+pWmAfPvSebJ1wRBG/eonTIUvrU+CgZhY7Gr9VgFFdRLgLLC3jjFaKCSojwt34YydDwzrvou8z4vUKQA4NXAWQHwicZw+5glik1m+7jMz1UWVuA3J7B255QtxA7MVIrmAEGdJgAXP8NSf08a1ibj0TvDepKMuzjhg3ZnPqJtAAfoiZUXU9xhSWFBi79XluuGF7ujjOVtT5bq8JFtUxS0KxQSuTBYU/pVmquaj9Z3zVVzZn/EiHyb/vX+hteYwW2s7POIZzq2ZNqRmvOmvHc17v3l45VLcLKvHqeAuvQIUerB7r1YryuHnDD3uxFrGqM10Dk1cwnqsyGnuvioE5ow0LoV3pfqhpPUL4p1Ge8EMmtJLa8D+bVsZpgSXho0oOKo/fw0aby4GpUmDutFkNdRRKxjk8o1+yB0NtNWt2MZnFggmll/ACX285m7Uv8e+24mAvlz1LPRpFkeTIK5DXZaaawS7DtjbcLu9YdqYNEQQ2xrDmnG8fmh7l1KTExhtEvwFhKy/iMMSgmteagnNOBoXiDRG7z0wY8Ge7r+mW5bn7LccyEodnFfK3MDVLWnXKHVBx7F59PoA8oLAcDa/k3bY9euYwT6BIpkYnobT9uWI+/T4YVBQrfNT5cMwl6Dc8qlVgEnN4r0lKy26/ZixOA/Lw6+jsx338A6wxWHsYzQNzeErYOiU8Kyz3JiV2NUkaF/6Ew19bqjQXapnoLYnkerKE4OIbSKZ3npsLq7+GZl4pDjLe/lXfE404+UfbQPf6TXjLu2vGhJNsU8sUm3GYu4VADleDzOji91iWe9A4DEnEJIr3Hprrc+fY0DHf5OADGebx2WU435TLHa6MHRFU2zwB27hWSYBDQfGc8BU9B7p+kOdOd4fmyBA9NBceWZn0tP1WxixAqVCQac8AWm4gbkcG9qk2hwV+b8dI5BemnrOxU+0qcvMR+/UUSbzCPfNbUDfNwWww53wt1puHUCRYAqWLddo9Bz6cZXZXUJMsN/HnvfE9iFTzdcnh2YYuK2P4ZicpaF4nZYUIOpNXze4bKMF26vMzyNkyyT/g5EccJiVrtSD5XQtHzTTdslG4CqNgthtiHl4vC2yJpab0AEY51YECyb79+CiuXOED8exp1i06bXDdZNv813Su5mWlJ9WZAYzPQGHiU40BlQB8a8SbX3ce/6Mud4opV/nFSGN7U0M4H9qHov2r3wPJmRRipP7ZfH0TBiJxIr5PhxeYOmMDHwrr1lL67r0rN+D37OFrUErjypBz6wGa5Rqvtrg56rBChx+CbgmuybSKz1jCg1+5jH1/G2nj5fsC26WDCy+2x86VcdYh2EqSZ7QP6nTZ3WuyD5/GozVA5LLvLqEbYLepK40qa8tpPjCfpAJo76X4rGdvimGzyd9Y4DZkQmDeo+EEyF1Tn7DFBK4a8EVnjsSrUpfRoeez6tc8ozWh4sojlX6EpuFGcwrb6l7vkH05nT5jV8gw1tWiYFkwbXpgmqw+l28xbkdT0E/MR31SNwVSMXdYwlMWr2+aSixSXCR51wU2sD1ZuTIhsPSRDAQsbkbK1j94VoUjxxk5tdOkzMQxRvlEV4KD2BLgH9Z4Qzwi1IDsaJ5PjDR+dHC/WlJSLR0pkjX6wIMXZT7gHtiZVFGzayqvfX4nG28aT2LBLD28YdXpc4DibrayHBIHPbh20d2sL5/VlmsB9Oymq6uMRxAOTgSgzjdaxerI4gjTy7kBpq6coPIQNjQTdDRiIB3HmxOl0T+aYFx4b9cQqhB5vjRrfbC3pGW4f7zutFqhVeEVNl9rfcaMm/x/TYuKJNiwR0lYiQCJSAstqYaBUNfXVJHI74aMEIU9UvJdizLRCcEKxQQp7QMnuVjQ/Acvva574QYiUJAAP+jDfRGOxstZOwR/9gDwThQldY0fSna0xEtXgSlxB84M7cv2iDR1s7m+nZ+temFJrlPtLVywN041mVKTSvunmuUbOZexsnNuxLxI4Z6DoJaHRAwyABCDGWmCEIrK9PcaYOHROnp6CYaF5Tk+V8Cp3uJEAdvwL2t6cjK3lRSJ4w4sUH9YwNpE/KmB6yj1om7rMQQZdON3Dix7KLMElyh7TgJZTtWXbXUHeg4T81uP0dzNXcj0ZHjazseJmbxmNoUQw8CjCnOI7w7nHS82mxlCxgXeU2t1Dy7c0NVtHPjh+WtQu5N0d0akSK19nIm4au0qxMWI8NNxiJCvNKQIRl6V8WzJ/VO5fhcn85xHDTs4P6v5qrxcp3FxQGVjyAt7SkXL8Hc4Rt6h23uBfMg+etXwRWErQhJe//2JA6QH7FkndReIjwKH/9ObTifOdvby+PeXPnS+KIU7Sfy54CqwNYBLbTSiUd7cWnoAKuWpbr/PM+u86MRY3LEuNr9U2eJiyC9Lhuz+vvLXvfNDFQUX+kFwGh8Rpykk3THQ4krO7xrDiVGV2etAALH5L1NxavjOyUX84BC8dQ89qMMpx8vHSVr8ex1jaCZVPFiYm0OnEMGCpPNqxrHE3bjD6Fg8rofa4qmDHzLnstOKgqjcg9LgmzL3jsmGuVDeadWo4uQjKMQjPm3G+WoWbeI/V/heAqBjDcOrpsZIMXlwIkR6iKJfhOpiKsGXV5zRxjaCZKPUmpw6t0nX4klVULi135rtuQaR37p2BsAt9XT5RCe3mFyO+PC9Ey7H6n4J7pXxRwR9FoUD4XLCmfX30Q3oiq9L03k1+LOpkoGMHFWLowbywPvmZN3GcC1ntXvig6mc0cbtGus6LNiSJWvarLiZES4rzJuFeUHwww9RGQpFrpSNVDY+fjW0nRls57Fr2jZnLwvKchXm4Z5GswS22tJ5FtdGrBVFWVOzXf1Qeg8UM2TSN5qgSE4kg8XrLrZXGji1M7qo/u+LOVbzRr/owk9bDfyCBaClDJdTZ2YozjiHbtEhmy3k2V7qVNShTqLpHqynhaxI0SJSLfFCoeW4tqvABsYi688qZgrG81CebB7QXkEoewtFYj3NP9SEzlB/DbJbTohuF65P0xgWCimrfMlMjXszPoDSqsf5i0ghtru5bST5HN1qP1PoVugnreGVbObY3b1ZjnOA0FGOIu9juOx9vjV9WWIHi0yFvENTXTsg0pyWu5+CAaayjYduPYJktSYaqSyZgDxAgBb2/LJfm8pnWRUbBvC0Il6mxNOyIEd7BA0EgSFkBXUgamqwcIAWLABPS8XqWUMYj0ghwu5j1f4Hjhe39lx81/hSwcGcgYZmQZs9i58l4iVHtqhMJXc7XqkPM/yCz+GfLFyIQg+70EmI78OX7VX01xaeD3T5bdM8PsaVXr9tpAfHT/iJZxVzADpWre/HBlUvnZz7WyDM0hUyBB2ybSX8csLXFGHdryrvLTAvMY0s3S+Nym61u1uRu7WmhxDBaLNNzXS5Ba9vR0EECcmmMEaZZcHZjs3RBNDv6o7Gqf3HeOXB6ZYAab8d1Uf+VbVFrx9C/7f/3qCt9XSpG/6G3c8CcuCTiH9Rm1/t5Ej0xojIKse53dYBs25/NoZbtpPxC6HBP5g5hnBLtg962A7K8Blt7dncPYF/beDzPU5H34BPJ5ZyxA47Rd714FRuNUFvXclq/7WJ/s40Qhgue39JjbC+q1DD/zK52kIFwTv5X1P62GykAN9SC+N1DDrryROT9UExzd+m34H0iQ8x1d/QenMNaquvFdxJQzSSLlsyYfGaW5zMGV9kE0QcPid7yJ6xe2v1gWSBvRfqi65bztxMMCkVS+gzsn42lb28DqujBdPxxqgGmzL2Q1vye/yfQlOyt0y5BVu++1tOJkUXdNKo3mD5/zlev4tseKkxwgX6u1mmAYwD3tiFxANrVDf3fu0Kbj2naVhK2l13cUeepfkikfnNUepwZqSPcoujPqzoCjjPDG4lEHjkpH6EQmbh1lqJGDAOPpJXKpicwWohnHgNg0bSm4Sp2KZS0Tm5E5xPfwocznyJUMNdWUyGvcw+lHVbqsItXpQoqsh8TT4zr2hKnR7vlmlq8i3TI85aORcNzO7tqcudL1pCyi7A/ypkk75HFBP7OYIikxQeBZHjGMQEuxTMh4cwPA4Debz7ui3t5D08viEopMuaRiR1NNispKtiJNH2RVDxXQGRgAs9DbVin6NDZmPioZuVzuQNNbLttac1nCajOmd+hJrjjzLxc9fLwjfIX0Qrz//uJ9//TNJ+dVCD5tC0zLn8+hq5DS4m961BZzaTEiLpn6aGxbjGno6f271vrxCZa4fRUlI025hhu7pAaIOEPGQ8UVYH1fNT2ntMWH/qmgfzahu7yB6IDLsZnYPPS0WcrwF7T+nndMZlI3ZdJEYK15/XAHMGk7i5tT2KaeylL5d35KSK3HB1QOR6efeJuQgP9oCDOLT1dy8VXsFyuvbFk5mJ5tHpoc+lhpff3v55C6OCFoU7eMfHG/IXGQsyebjFZWqospoZUeWdVAjJVaZfKDrM2bjq/IFsBR3EYJkusYpiz7SAZVtQkgVcGL7Y9zdIyE1GDzTrafjDM755IPVSrxQTTBJeJazYCGJyOIPEJLE22EDG07+397l2yYIY0Do+56LePVJnHdgeVK9hjD4G1k/kpDlduiwbpdnpxbA9CXJxqy1QvzXbVF4uyVEAwW/07F3EzYsk9maB/odht6XGOnvGP/XsBGp6j8DVj6DUsQVSA639enAsAybo7xXmUijAcmdPMi2JK4e6mf3ueLj0o4m55jsCx3TAdOBUzUzXq0YgKOC8b2XaLLKhhwXeuOWydnfg+aCuXOqSUFBIlBWV8GB95k1zuz0D4L/WCa2QiTLFv0GIPRbn8w5mbu21ltxNfUiaOOFN7xRMbizxnG/AbfsFNLbQt000SOzHQvjDywLHq4iuE0JLeQVYRR/iurxbdek4R38OyYL8RiPzZmCykGt5gUY0SEUi532RIZZxXhClWSkYovnkcXuqj7DZS/uGRcWT93ozR6WyeJd2imwW04GPJGUNE36XTowCtoXflJzRpaWIWr6Mr4cvoQaTkAh6vu+2rRLq0J1+GKYBkqsxOFXqIRFD6Id2mbiEgaFOECe+m+1QBmBBZkwnZ1hG2itE5d1mYE1BGpubVTeJSkh9RnKMVxtACLryv3OMi2m5AJiwpKuaNGZHMpX6AqpY1SETKdWm74teT98EO5G47DXLxMOTeIXvGkXVSqNOPQOiJ/7g+VMizAY0GBDGpm4ph4h96/Ne4kgGK4cnhVIbdYuXwJ/7Q61l3Yq0yLKWB1TXOQcWXjXBeEddIrh4jUXxKyXdvj7Ta5ngMPNAvkvfXLbl8W5m4Ca6Zdq0CFzOhai9C4aH5C1BgIVE+SLZ0Cc4N3ExR5Yb0iSMMD4VSPCnG0dfJGm/pdkGEJuryV+9wrX2AvMmticbXXjlcDLKCkNcJOP0IA6UFD/BkrCUA8vNxBmx1gaQCaSHQwXrbdCJN19ftvHwglaxwsqhlMwWxBvBTuR6XvRyQKtjH3qFvkPeB53ps20Eea5ssu/RLf1TMgWxJMG5vqpX4kmOAen09Yh5SR3y7EmA3ar3iTWxezzlev3v+8IPk9ggYfBTk5OMIr8s6g6kDYrQhNpd/7ms9k5MzkW3o4KaZ3ZFIHuyefy8c9z7USdwS4lhKwHIM9JMDc2gPMoENkNrVvofvTEIoR22A27z2MRqTnhq7PZt87/WW34DsBjFWkMdE0iWPssW9LKfqjBAwM3f1IaUY1dZBtETvxP3wLFadTiXPzqJ+BaDJSydpVmGVwmVqCjuN4vdfpdBwXUpfFHVHQeYONuEcClA6KLY64mIKUm7LkzT6wMd0Y9bkOEy1fFAyVKA1p82XleUT/ARt9i75qjCLUXoQNn4cp2uABVnzUMqAqmEb418VNLjBvp9EIKTm0Zikk6Wv0secZcgbu5hlS1obaW5f/mBnnYCF0utLIFE0SNt1UzoyQhYyfacMK18rDunMWauI9tqTVQdf7YPKpqlD9ulL+34WEm3ehwpxY7UCcrC2jUFzsyRY8ebgjKUCyubNQsZiE/jhjhugoYCXcLB/cEyvmJkBRk7K3GP3rxLls8WgtokIx01CJ9Wm/Ww1LnNp1b4PQNOmMD2/nj/yt66XU0lpNf7QBLfYWBSUgG46cF7ipfF2hXYI2u5wZolJVCdSTenBmtMTZGicTMxgwCAbCsMS0WSfVF1hnZ+Ab2uG+b9aeYiqUwBqckpgJpBo66XRM2Y9RywlWAQJweb8XzqFsit20tAx25YbLOFUYhLhyRwg8arED0HB3rBeo87a9re2ux/svaN4jnqfUAlQks9nnxMr+gTmVr4bG16RmrSTlLTx98Sz89GZZaHKvMlmDfwNDPDNyS8DYFe9Cp90jcX6c9Nb2gjtGFc2ZNpT8qIfQ3aoClDGuOyC8FJjKfNwyNoiHGf4lrFFGs2y608rha2cNx5+9SpOLW7XjMjCd+fgHUBBzANHDVrjxg7qgqF/zSvVn3cbVnWjkvc273Wb83K3ElbOvKFeEw3+/0W4fpSSlrijFi/4j95y98VgDQH6k1F59aawAXDLByJ0jzVldC3SdRsUy6K1nkro8AzBOv5tYaFhA0OWTPeP9nyDgsaCJ7z06ClFLO1OlrkwBRvV5pVupmxq7bYmUkJpIdPVtf55e4JRsWuXGyx5uRzIZT26kMDdfHcLUYesaV4Yba2MQA3EGZy9Bp/kvTW5XQ/cUEFqWEx78Lbs5Ax0FGjs1KRS/BsmLAnX38riA1GVtdFtug==" title="Mekko Graphics Chart">
            <a:extLst>
              <a:ext uri="{FF2B5EF4-FFF2-40B4-BE49-F238E27FC236}">
                <a16:creationId xmlns:a16="http://schemas.microsoft.com/office/drawing/2014/main" id="{3DDB9358-62F7-B7D9-BDC2-E16E86B30A0F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612716" y="1983764"/>
            <a:ext cx="3240974" cy="4853688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tangle 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lIBcj1AhOaglsfnW7bJVNy+Enu6UK0QItpF7Lu9UORcZ4SlpnUax+QPfM/lwFPHVSHxaXXiOwGJHivZNfu3EK3IuS2PnGFcrQto7aCqTO1ypfEMgTPUReVS9BsV25ikWqDqRKg+mV6HwgncixvDD8HTtGZHyEpTAPCLjjcvOgb5daQA/swa0yE+MUHferIGtuiHQHAfYrrPp5qXxQU5FNFII4RaFTwKiHE0Qq2+zWUCGFSRUkUROJiKWgayH0tLInZs2WILj/jfWKtYP80+9zfILe9ZLdE/Els+OtpYw5v3EHHLij876a8SuPR54fJgovnh5a07b2dZrJkafwOGdlG8ZiwOpcpdIQS6rMx5+LsPa4/duh/9edl+Z/7xGAhYa9JAXEc0YD9fl/Zt6k57XbAz8XeBshy6YUJyuS+Z+1Zb5p08v3mUNsOmy/DPuciVN8tet7pwBPe3B6weENq+d93paZrV1u1jZMyeZR1SSGfFqAVMYQ0kIVSWF2hBLd7A7Wqlunqp1zRrCThyDmouKLlCoRK17uIjwbPXBWRSA1m6nOGsAZ+mZOryB+7gSoJsB1Q9l0vf0WeQrAEoOcjf/D5hWae3oaeHTS1oru4vjUdwAGxSFjkJFSLgTIQ7dDxFlDl//NGG5P+o7QhTWjnEcvZGpFF/On4bujQmU49KOZh5tXOYWUFltXO9RgMZGXmhzsWnW6E8au0MuTCrlvShTfzofWJSQhjrMoZlRbmPQBYwspNjoBEEPCvX7dAyHgPD4Xrlvax426UbChSNyxFB8ncJKS4fxDuIQuQcIJVAOEkRE/Ae7DxGTZr0BQ30/m6HtLRRrA5BtxdiWktcIUAzDGMYxLRcUeTQB2VAliOyvM0fdyBWoLs24UEUDCHYl/7NHuirpYAsjSXRBwqJ4RpQEZfeZ4wnfXGYYFTjoWR1ZquZ26yD1VpPchWx2gxizqwAaj3wwZyRjCoP6rGEYpc2KP40RzKmvVIKX07WSs51U1JuNuvgZH4mKnVCoE8B8oK8l8v84tJXoDKtU4NrvsmE25yGTGMWzUK52AhXTHxHNEM86DNgBga6NC39VOJVdczm7ikvVanbsVfDZOqy/Sc0a6zlRx5Px9KyMpNAWU9Hhki7EBGK22/eFxAf+GQtusWrZyOSUkwpqnt75yMaWDl+UilTmtYxF8UXDLEqKK9eTUY6B/Oz7C2xvU0tB+sscRSb7YmmbaqJSQDtPpqt3wYkRAAAlxlxQ+/LWBzWdsel+yY45d7LaN1g22chAqYowQeNlDGKaEGqwxd3T+otULGvtQ2V29p5X7K3DqP0B6LRaBRF+4r7HMz1CjJj3U2ZZxBiQyEvStl4Khr+hqJdn9temZ36FhJW1ffpovg5UwNwCnTEWrQFBFf6t32FyZYiFbMc3A+FRhu1Dm3TJsBmnI8sT4sbEpQGSl9DtdYrSYumZYUXy/vL1XIvIWbbbqNtu9/MvES2I1Xbx6Zb5451s0DbW8IK3d9KrJGQystR8Bn4yNQ4cGAtOA8VMmErFjw3Dfz6ko1vobYBITCvLkmpFjKhfy78zvBkcaqJJexZ0i3Em5qcK6CjKVHMrtmhqTh0NW9TyvaPiA4NADmZNteA20GGVmhdEpkOfA5hNQNFwccAn2Jbvj0BI90z6zdmt2wguX+1Px0+u26Dd6a65K8wjuCmv0AJwsq49Db+P0sRev3CoATER3IENMUxcYZbdgYUENVU9SatkNDXQ2/hx8GUxBAPT5F+rZP+OzcqoveVIX9hNV5GDR4OWKFtXJn1Y2I4COlLob9DBZa9DGIzZ/U946C/XUedZTFC6EA5CXVIM9A9UnMs/MLavDQnJevYdWZPUyfoJCfoe8O7nSsScCMtmp8pw0LX9cQ3VTXFNSnPK6Ubq/GtxPwLBc+u/J9Z9znWEAxtZwPXdFrzVZCVMI4LPJbXBvV10deTXpSLf/TJav0wVCqWhidr8iJpCZ5WknA0ymb745NYnqIkp1P5kFnYsPXPfruk68Qn4q0sJ6NN6fncaOss48XqslBQFVwfk0DcEZMlu1vt2E6rJGtRXzZoZ/I14lN8FhSV15Bfv8roS+1pYDnMBKmHb8F0tFboLgCfbKHQFNPObcZ2eS8zDQvSfd3aI52Zhoq10NJylSExpB+MUOgjpZO/z0Fv0e8zp86AfWgtGK+2Gtxo4QWGja2qIQEdm+IrJCpRdcEXqaAMu4o4yv9ZiEHK+aSz9m4WCMmZKgLow5U19Nd+1s0VEcJV5JuMdksX/f23f9uV1xsOW+doF6lvizwx0tpNT0qb87nkH4XxBj6bLjGUDaoK3RAYOAdQ3hn39901KnbmXfHTkdliz+oa6elQ7srPkVUW0TrqaG1LeDgtXpmGl9sVspDlPSki7IKDIL4mtucbl4gacyaOE30j4TtZCEXu4rox4XXy1GHvTrI+xFFjhpREfueYb4KG4Q/1SsNoO4R17wkwTp7cVSJQDB5AI43wYCX8jI87RgdOu8/VYbq4yWZ1L5lYSoQmKbxw9g3FB3EBSbil/Zur8rRthSDG5q+i8u45UtbiUjT3J7AY4TZUU9CZceCHu8N3MaRBQg4y9iMAicNH/NO3P5QMNZ9mKvA/9DX9W64ajOBhOrPJLqdlOFhXncQ5ex9bS1HS6+muhbrLb+Y3R6UplkurllFbjnygUCaFIRxl0BEpGXdZeLrFByMgJm56hGKtA21BCvTz+4Sg/rtuo8gLBp6vpounML3pJpIsOT9Yo8rG8TmuJ41GzkUTiSXwopoPUraYDeoBevSTXCxEZuDP+4o2+5PDvckqMYLJSE6xOWhA944IZFLfO1vnn4GgD4Y/2Rsvye+MGoOTxmIjYsdAX3lMMWqqSpwmnLFBcKAaAx6+JOdmQjV8NpsEqALvXHldZjAdnycKO/R6klOyCKV0LGzx2qZDlx38Uf66b3K6MZ4++kJMdaUMcDLiDvNUAiDSCl+FD3sekOQTZvqXFFXIqJzeieqI2ZFqjFaXeSV3LQzuAtMdZuLuWC6aVgVUKiD7XKupojqoc8vBBtNSXL08X7jKbvswfH/M8zVbD9l6jMPE3l9+vH/E/rgKprEr7ea/DBSROsfcEz1wQfbgQ898qkLe75e7bl7lH0nGeSt1k6Uw+r7JFQMa0YiLM/HzKDgFri+Fh7XA4gGkPAGZ2tVUdNbh8UW+S+qBka749sPKY01QLI4+7ODV8Swj4UpkNGi9KrG/oCFaaKgpGkNyJLOngSROFNnTKBFkNu830aQO4n5KYe5GUYr2Bg+1jBaBApb4iHfjD6zBfbw3jWyYUUaBkvCrP7ZX3TuONsgXAFTsqOROMOf6lnImcGQPHLdMBHbVxmtDuntgFmqmCkV40wRV30GNBkGepH8WuwkEH9Y99tf38TEXgJXQ/5U0oNcf65LVi8hC4fZ1xUdyYFCvWw9D6FqonHqUu3TFXGhijzaT+hYwRSGwk56NI3huLOHNG3pTqsmW59HmGtjCp72sgKnE6BOH4Qae/iaxIpvtTom4smqW3cwM17/sdPcm2o32I2oybk9Ev3DxJ0dKhcUcD4HToeHS1sTUWS8XsmHmd8uixNfwYrmZQU6dg/VtU09Ihw/5hsu8Zs2GHxKGf9Jx4uEXU+3+fOhWYegYYvQ+E5uRsTmMGBMxV2gETIx1I1ik/QEBk6xJzh0Zu1vRU+mtBXmIi6gEPYSiyOlFOYE4az0X9/8nvCJYOPB+ifbQaziCxHnWbvSUUDHfCvJj0vMvSwEOLjf0zhJCEVCVJriiR+qYSuaSaPA6lBI+68VOsQgDzVDQMI54sp5gVV7I/WBKICWlUbORPtqMdzLzBO3klDPuYkQgnUBumW2oUfqVXel5yOtVRmuv9JMSitCa1PphjkuvuuI1L/FCPCdRooueFgcs4+uqQKzFO9y2gy0HTx8kcYrfg/+Y4NniYdns9l8Zyg+RGor4UcStYUPMPZ2yYcVogR6f0l7J5DT2S8HKEd68fBwEld5OFGnis+VzS+Rcl7c7P1D5UUnIe7RO9yerjj5nKFAnvoLgH++Pkig9f+F17a6ekMz0luYACGWxGi2/QndpgyYDnpWqGRkyK+m01WCfppdu4W002jvtjEZhIsMss8KTvS33mem9qCPxQdz5WNTdZ+VJJ/SZFTa5mYKijVzhzhKqFeHfXeefm/PZRoJLb9yQP/18XVAMGahv3YwIaRFnPiIQ0Yx+QSJc9SNBMBiz8bcdqdY+AKcxziESnBRVHv+FzQQSjr6BgTjjEL44jVr5ujMxRPPcBjgXszR3xy+xK1ULmO0FGmjflnnddCyg8Y4+9v09d81BAPntbveRdOwks694O5XpulIeUd6oaS6m2jja8npOe/hFfYgbAAuE5AbSDm6njUbhf60HSMM7v8U3Fq1t4hz6EbYI5of/NgS8vsD22OiTwMk3K+1U1QyO/QfHD5qTM5SjBzrJpWAUzq26n5yEuMWW0AIkyJiWBy/5CrHwFhf+RF1EtBi86UP/XdalHNBzHz1VdPUVKnoYdHMtIxL9Ctn0I/bflUzr6TiC/yVgCIgc83MN0PcZ3VXKTIzfgQrbvlXYI0vGAPNAF0+QJVz/j/7X71zem5QqpxRfU6jlBSDOywUY85CajRo3QsUXzuOFPgM73T9IRZZGPUUsDs0/dPwXXa/QcweEDBDR6KO5D2qxfajsHFOyS72xBKjh+TLzdOcMLfs2ABtCOT/DV2lCqyPeREVR5rx4sCiOtfrVWRZl1tgjEPJocdCX11wCW4luR2q+aaEvFTqiuaNRJ1XDpFnR2NI7dDVxfjPCjLoRQVgi36vqNJNqMZcdCCbIBg38eDgo9cglldKXIfNHM9Itl/bFx3/OLq8GrMzi6mR/iJHao/+LmkYjuTMVWe6jcH7DwOaxJ+aOnrMgd4sDauMo5j8fxZt/NBP6LFhFwBIJe+E7xhh1rEYn06U3rYdrq0XCUWDFT6HP9V27E/33S0AcwTevphig+k2DT80sR+aSqlyuUZi7yJjJIHM/Y3J/+jBvkiwkyn+bPNKakB/sbSxsWmM0rloSNKL237mgxL/GpkllIoGlRIplgXYEiBDsqovUrC+p6AJpin6NpaYbi1dNOTuPc99JIcbgbzQCwLyiNgtxe7EdZj8yk2Jz4ju5f4TySsv3HdyZ9WK5l+JKk3Ha7v3FHgM+ES3ZKny+QLSoVQElG4zxWEAlU6r8etKg5s0gMGxMWDmUvOrFx2E+rJ2CU+SQuCnrBSKrnj0QKFRYe8aLKTTH/zrbXjJL0nQFntgEb4u7Hqv4fhAu/v3VnBJtnXP6FuxN35HWzaNDbOgm4Rxt27w8yJuwN/yNwbr6enOb77JbudY1Cg5TPFt6OXzMsc4o1pyfy2vc+2+0xrAA7rXIralfuBO6HkEA7DnfWuBQA8mzd7Mw3oNmsaL1LwhmCEqVufvSc/3nqWYHUClyXXsugHIof9BTmV9yVG2NUGDAQhw916KFPscni7PeAeKGsvkKYgD6pf1S9dzkLpy0I9MC6cy+ISvHNb0aGC3QJcD0LJPt7ye2Rd5v2HkPzlXrfz1ICxrSvoCRntwcZIwWn+HTXCnQT9mItyau7CCMwPm9YXQuX7oT2gNMEnYJp/TAT1KeMGJCho68Mg/pJkvx4PYbIZZfRRz8rfI67nBUhPgnnwUzeHnyA7VXTLvRIk3040lfXseEq9PAJetbIXn4L21WjUrykOXjeBRMhak+UmFc9bZzKWN4Nw7ks9mSRtbUV0CrVSHRhvwvmdOwFyOm0XYdo5cEd4NMDH3tX2LOz3kD1ayARvW21ulHvbiHa+kkxxY++fl1rBmN4esGILtMesgjSfnxyZ2Qe1WfijdKGFnjCteQrgkvl8+3vDcnLP8q5wikbZJdIweLirfr9EizwTjjDSm+0QhSI0geZpp4Hg+o0c3Exn5LREOyrp8IM6BH6n2e6/nziJ9L8AkQjlotcWAQbqALZQQOa/vcnmTMIuSJHkLqg/9qtn5kZAHrbSXhqTh4QN/Det1cxEOZoynP80+zyGJkgO0hAfzemIa9yiIanRT5cqgMLcMXDb/u3IspO5jJ/0QsUZ1PRuX0qw50wI/gnJX4f/mmQzAaaRWiRWZo1rUwmzBX+GPMbCArKzURtiXUV7cFr7w4UTxNUDGM5mRyIQf9hA3c5dgphc8wmrEAJ261P8rWk3E+p7xy5E7N6V7eBSA/vpVJtCyJ9qIvcjReahkvwBwlVD0qD13HSwBqVeRjGKQPSWzxFahORHyBxyfJa1A+nfwt8nYmes0VPOqyl/J/ZMggk0HiyI96g+s7QVe8X4AsZQZXjarXvaEmN9Reisbk+qbbq1p6vOOUivGsLiigXH+uBhJQZGO9utF4XaqopyBIKMT7oEQ46t77rP/DBvpgMODpjsGj6dgflLbEl8xSiA6SxGoRfs9y+C/UdyHWGrWwhckfYdTSSiDSadgGqCVK7nIJI8GWjrOiRcNv0pmCirLhrSB7dfejWZXlBeLdPB8tKmuEuyMGSyISRClyojOsMEYeUfv48ap8guOrwsWOm1OpvMfItmfuYCQViwi249PR6vZMNu4uXiV4BUXD+91NdwBH/IJqJ7cl5mDiagpog1tCw1eaXFCKy6ui+ThZiMl2btJwZNIYPrfb++nfhqzRppQ6+qHYbRU9XzsQvN399vHP67sMCIChrGehrIGrS4YFZQuL6dOjaR+xPEd+BLYH5kwPxFGhFcs+ru8udtTUxW6BP6aepedNfyzZqcr+MepZ/3uQ8AN13zm5jsotyNiOqhrgp+yYtXIxTrw0s52QG01r5As44mXrmR4TOr6F6f6XEzJGYGc/T0xmIt5bGNDT45kNvw7oHAvfBv7TPWmuUiPckU97DyhKCdWSuBVQpu+gRJ7JErOpEJ8tFyATKl9MXrqq6hC37WoYGZB7EUsZkb/SSQAWXQ4uRFkeyrkQ+GTOzsno+2wk2gXmtzzNKeOxyp5ZadF33dt5N4ga3Cr1paY94GohmjkblOR7pRPLjcLrkyk5qlGdtvpq2+9W6syTxZ/4O5fMzy58e3kStryFMxZeUFGuihGV2ruJKs0n9JSUdeHDry0H/wyACRwJBTJJFLoEpU2pN5wbF9My6P7aIZdDSgAkGo4nNaxASk3OmMKUSbl0nnVuWzTFiYzYYAYePMeSbyd04inyZzD7KL2oKhGauHNmHKBcTbd1/hySjuAxgDPnVrCuFiJNPqsde8crrbLXlLkWWDU7wWbKRsUQVIZWOEmrShm42nZZWHLm1Bh2c4vCUQuLac3vkcGuAkuidE3xMrEGpiIOUF8dS5FV1E3ioszSqqr0x6Vy7FH2lLTEOnKIYK/On7zFKNibmx3yUXv96edy+eUz3LXBoL8MyF4VnajscQg6+5tBTFXRYd6V+GMABgPervCI6JtFzQ4eDR78Y9wcAfXz23JDtoX3Mq3+0DSLoj+7UmcElVPxNajs4BeDTVZk1Xt1ZcDE/vrwYFZi/VMKp0Wk028is85qiAQvxrNndTiy9/CVbguzNd6XN10D5dTgzgOVyDCskjwXY3JoK9wmHBr66x20IehQTYXa/RihueFj6CbS1HJwq0yTpDvHSHt+u89RdpLLubEN5xgWtXWEIIsJOQ9auE5sFyBvmAOa/7VIbwdb2CQjFRNYsUekym4NZ6N6Zw5qHWO9mtq3t++4LDxgDZITuQq354PKWCnUljCTr2Zpd00ADU/HVbnqfRPhVyFAFDSu8mDsehJIIX49ScGrGfkOTod5mwgFVXPW2w0t5viIIqSze1uTcOdU67hEqevPlsqs9spBNjcekTM0LjJojpyJu+4SoUkvDOYPYiSdHC5513qe5mI2MJTNssbImiBZc3bIlviXJlY93YbjIiPKxUhVLbiQH575WfZB/oMd12USGBROvqWprh2lr7WMvY26OpSXQREDuS4ha+UiNHFx4kHQvWHtnA7WKdy/qLuT71rm9lnf8RB5lyL45Uq/kUg0+qQ3ABPW6vx/IHW0Uk5ksDSCMP1nzUBTQoXeG5LY2Oy5rtfB/h+n0A8LOHD36zzHZX/IFQhJ6dH3XTN0PY+YZaeKR8+I/eHfTj5dPdwUYZxR8171K888ArEErBKV5z3L2zx/g2gmZlEG4NXRte64y6MS4pS8kfzUhLdmVeqySm1ZVk/2/2HwcRjx7AIk4r1LJx3z7t98FocAAkM7VhDujw5ngOghd41EiWTUCf7EmvLemWxavPhun48XfTKeDkvHArkkrKD2nssZp31FwxN0Hy2Ht2HPhQSzVX+dCjGLzoHR+38A26HdspLlEdqWRcvLixli0atKS/RxLZIrT8C8E4eaXDgzFP4TJsqO9FEJ7VCiHRSsgtD512A60wxgqjcfXzIM71pKe8peVlu/e23uuYziw7TkPzKgbr9SCloBbs6i5YJaDdkP8bozL35zF62gY/WaeIGXWhZ9QkiPsy4Aci7qBAkLWr4SjsbPWeWnjRZDpMn5AYIwX5HnaBgaVJRTu6w7P9VGgaxusIf7VK/KhwggfBXG52E+9Q0ti253Jx15uweXufsBx9exGKvSuiXj0wBQeUg+bktBQxwQkF4Frbj3W4TtA0P7Cl7S/tBhbSzLb6sIHLlFJJtPlsYYuj+huVI64JU5hm8XvxYEfkup8LIFxTd5L9Iz1nYhHJPEWprwDOaF1IOknCe/O6TpDnYBuZGNbwEthmp4wb5O7kPCR8y6QhMmqlX2Gjmfm+N5T/2ii/TvNoGbJ6icVXydnezted20ugU9geGB300RVNDKwOmvAU9EBSiALn/77Nx6TcV1FdMSyC4qpOMbORZjnjHR7vcvY/UR41a4fk635T9i5d1fXEQhawaR/ZHlFLDpsPD+udFEZdGCrVYE/KPrv1TCFRLRG4jqdpgoK6IPYvpzWzn76JO+kpR/n1SUwUr3ColNj2IKWF6NKYB95ivrz8Ag1k7vZeIgdTxy1cy3zGSRDYlSHcfPteSBMQYLqvgrY4ZD84GN0lZ4gsQgRWVvxZNHoRFhQ8IgR6w3qSZwD0MT567558N6hFwcyW498zw2AvwOpgjhRIoy9TgXvuPoNP5xbma8RDrg0m5Ib/GqWIK8d7EUXktbnWsdMHLOVQpCrBIOQJqs4a9ooyGdWqgvcK0zeloLgn++LFvy4112WsKywxzXoQw0x7bgQtdP73Gz4Z+QVzKXtzMSp2JJekfbwg+5SIf+uWtB+myGIV7ZlC0nBs24JzYia3nJMF+I6jFd4yjaUl+qi4UaXJTSCwuXNQ9kfd17LuSTFzbmBYFZ8spva0beZ8mvUhBQzP3R6aFHT2I/Cb7DD6k7wMKz67ngMGUAfd04cMPP6DnBlf0sfbmP6stAq3UiCDnhiK2Qcr0oGDfxkPLctaz/ZWSqjDIMWB3yTjIQtGVoZ7CllGgMrdKLe8vYLdjGUdb2jnycwohdfPyxwdc8CUsqEsW8/YJK85D5dcQYYkH48llP5AfLUsXT4GKAv3rdp80TnMUHxW10OXtUOAQ76SzLfd93MAnTXBaSCZRgmRfDp4CqwMTW/HtvSGMh7FHw1nirIu9pjSA3QyYGQ16REkiDOX23YGVi2iP16qIuCtRfj5BwGcnSfUcbOUEbTFcsuAg4Tr1irHLI6x/a/NRAJCVC+Xm1YnRaq2uI8M3AS+nvabhx/1LAHimav7UCTaAtJFGXSSgfps0svly1UM4RchKieK16fDroO6Z48ZV99DZsFVLsLC1ee0NCs65EAtOVEjSts8/xrBD6LytWRKLrIDbfjkjDX1dWABFed7ax6HKzxUsPNT0BWrXtLk/0Gj4JmySc79ll5s6pcMLL6Mz4A17MUHeJfZS8CRQQ4hJRVXfrtEBphnxxPk/c+w6Ikgf1X0B1d5N17BhZzjP4zCZOpjOYmdyXvomfmoyegCphTz3Nig2kBWXy81BQLLC47G4w89fMfQRps8Ou+1RCyomqt+Rd0C1FUpFsR2bVuWf0LG0IzejfiJFOgxXG+56BcJmVJ9Q99XWdpCWTzs4uvkbFYwluKiX/zeTKYfPiOnrkoax3ylyPYRqa+Z8CvEmRvDbVv0AaSuVXUIAWR8Od4O/7AWuwP4YTLMaa9pkY4/FCWbQVeqw/HzigKHUOw2SwBnr56Ev9YhaVZiujtpeSBK1UZo3igp0jZmAJrJqviUTquoKp1HjlYc893RpQ98+bqKKcxFYkNyfDTTGuAKFqIDeX+qrRFuBY0xocPBctDZjcn6FWM8yPwE8a52TIjd9W8Hbh+liHHF7ZwsjUkaIj0mmY68NPA9c69C3SI1RsIbt/Y5xhCrcp46PAX13T6DkMVTdUYOKjgcxOQSmnvIoC15j5OknlI40IaRLMiKBlYOiGuEuON52crWjtkh+UWTWxF95SGtGbSHubc+7T25EZCwzitYKUb3fEVq5YuRqdbtakKjHrCi+0HU1JTuqGlOJv3oaUexennRV4M9wjlQyS/89vxOfefqoTApZUSo5GFZM3VkSQGmzQg1xZSs7x1HQZE/pSLu12+f5IPW2Iv/+CfDd9ECoP3EL2TbKiFC8hKG08a9NC19LYVUTbNPZhc0z2Ki6L5u2Esiv6KUrZP/YtVkjKVfOU+LgPsvdRkhXbXCivnPpdOJTJso4bzaJoX/3MB+moOW+3Sc8e+E6bKmRZ1B861fFRZUAcpaO0szT3reo1ac/AupQCFNf0QzU0fSUqxoI9cCyDXXhD7D7pIgPpY1APa15Z0xB+HIQv529SD1cRx4RqR972012UkL0LhE4jDITfpeqHo+i1ZyxMXr3LYywsNtiTeBHoomaR/0lAB8i2viGrYJ2FmFbvysu/CLOsz1UwkbGQ99EDGPNoImsep9vsMhc5+H8RqIrG2jnHdphQtqvlek1UKY0IeGvGoTJMnrvL3I0wg1GcwZk+OlevTuB5qWyvxXwLvMaI/sxOCm/v7qeOhtw4G3vQj6sRvPFMc7hkcjhDVZQzwQ6P0jp21gQ1+ZrROcFImtM2vdkCz5X8NVMCFb1sLsTnt7KSiHjXBbtCHD56OdX76qs8FGtwixv03uZ5uqnNKh7GqVMVdRZaBYYTBIByMxRxasptYPTLjb8dRyWVY5WJQ5PPffhDscQDZ7F5TNk/GKNW1UU8NO2f58nCeqf4niv01ybiHVgB7890FJSab2f/8S88NDWLuV2e3oOM+/gRUvySk/ik43va9n89JChlzrT6g5Pr9XXfIPB9pJs+iWzq/Z5ypW6PLodxrQL0Wc32+rWPJpuNnSH5HHJAZ7J1bx/pz6MVMYs1joZ+2xJ9bhEgXukZ3YXEXnU7LOpVZv63qH7m+8N6MIYdkdeQVYFhG1Cq+ZaPnZfhbhNwYLZwPe92lpAq5cNayZmQoHnWzO3+kX0GoDo7gFvS3mL2/Uc9lhzakHlPLf/jG2yPDqlu0u9rhPUE+4M+s5wPQ8vsSr3I6TWDczu5q66wwHjpdz1uxqixGAWMiygdDSlCTTknspiSvawtnHgxU+fhagHRNVEr4k077rQHjy5vLRPOgCMjfFeHonroF9zixMW/v9kDZVN//kuC9aA//po3Vk8j5GKwFA/Kj750E2Zdgt8HCPIewTT25IkGnpKfTljWvbqIlKIwzJ4EB678PXf9RaPTs3LFwRCrE8PbZAkAX7yIqZHXYb7MmJQWkYPiIhadvXIX2A+HSuBPDN8PT+8mdgc0SOVKq1OKMOn9/RF7SKRMCWvMRB+B0gF5d1cvszo5YA48t7n/pmDMU/6gfz3j7wj8gWiiLnYWIySh9KNw7+N3CdlbXSUpLr7tJcSEhP1Wz2mUfoUXtbwL1B8IoXxuvgLyDx3xB59TYXzbCtrk8ReghI25OPYYPFk7F+LTujGfhBMXO3sEttoLXuzvTui5F7mJLp00/bmXkNUSru9BxavBnEwSz91jamG7xZLIqMfXFnatUw5Ih1HmeSgxYCAtbgffVkJClqW6lR92g+6iJVyXBV9FGWSlgQgShuGefsUWGC10FfYRtV8q9R8k7TJ1WSeFrDTpC5eY3j0oOGWX9LX8RpIALSRxoIotwcsLb04pqudS1umX01lQ5t7CpAQjxZ0oSFliMJnBGRoOF+CR1zPvug8Nnl5Pp0pZJa4Upk/S58QBDuJM2SmNYY3nakyDah7q2e8WNAcqvpitOQfUQMtTXWg3oOPmPVrGM7XiNlrN4GG+No+I9LulCmnmwtPo2LxNQswFkllNQYVlISYiW1NvLxFIfSwQpulXaCdRLmj58Rw8abSApQqOq9AS20xp6hu7PyLyG7ETwJewimLh+kUMIH8K+fzAyOxkPnIH9zwrrJJ6AB749890ULqrO+7wcqF2E6WH44HaXtiPzSGi9uQ/pqOOzMOu1mA5z/vhrda24J9cUTJOuJQerI3VtnICPa4jd7hWC1Pl1VmP1n9NMp9lZ0rGSCe63pXAnaJ2Nj5LrE7LOZwggeNLmt0Abc+Jkptx8Hp+t0CvEs26VWwIdXmfskT2KdybV5ahVLTjUGurREmPixJj1XOFcGOUy6Xy4unLW/S7cwV6ktM/kDAl3Idak7fT0lRXnDRK8qygC2ewAVfvHzYQT0964GRulVZpAfDLytdGcHAVzf+tdTekEi3RzTbnzm8OrzcidAncKm/cDBuBFM/6U6wsKb9p7XUXTGXp2X8p5ldwmLp3x8QFyO8G5JE74eOOhUFvRdasFz5nzA6OjijneXYs3YAmUUzJmhzaXRxJogywfkxeLGjYbG/wgaV5N3yYQF0eZgFyp6PaTJUJnb3UOWsRxydzZDohCzgyLio/EV9nrhDS3BSHCsz+zyad4MktdLB4eWEd5TzyoeQ10E2YB/yyKdz7Xsvvm5xZcSKRTtQnVs4R1XbOchvUohur1UBEa+Ey0LKEYVm6KOHRpe4w6rbSRzw10YS3JQYLV3ltULatTQM5ADQBnZ+eokVTkimfhZOw9RgeICqaLUCQKz0suh9+0RYDaJLFbI58m7iptKrvAkyIIIqcdtFAVJM8g2H13LKOgSrFfUaNv/ol4i+sZuMewbYmO5gNctgmZC+cJSNa/xrJbUB4qGYyPtDou/ODyelhzUW1LFyEv75meXevBOUxAWiYnwLfasdqdGjGN3oyuZwAwupTQnA+P2SZ13KdvjiwmDeXA7jc5iAEAY/4PMlk258VFKw64kNiO7hQ9tOhn9W0Swixa4uNKBvMIoANAcXRshqRmJGGag6yqMIg+5mdzcwFOsTfn9RLDt4hs+Yz3nujx8gzoiU6LqLqzbj8ZQV2OSukVxgujKlbWyw7+ZSLYxSZS1wOU2FjldQSF3GTmKONSZ6gOYu3+BXMn/1xNfAfukLgT++Ohr1RNjb6k5r9IMgzLrhewvO47RxHbsBvx6KElhv5BRqf/WI711O1NYvuf7P5WNbszaS+O7PXDSH4ddMT+bkmimO7AvzkEuKVYRYn5VFBOfP4G4bHmvRJ0v7szz2h+GY4UiarQdE7MrHEFmOLf/Q5EUrvUdO78soXpy6UUtvSqtKCY5vVzaporvuDhUX+9mpZnkPYZ58WyvLQxv16oENbgbntSg9GV8rB667UcY/7j77kFHQ2pg/djR3nPCAyecipHxlD2WCr7nCytW9SbWQx0pLfNCD58y7zHDcniAqgMQbAsSEqcYhby0ny75MRLJwyd8ovGiV/4B2qq2Q0PwhNOMrZHUfM7CkKzM2Ifch6K+Q/kEgrC0OjK2avk2DExwY5jYyvw6FjR+gSrHqEZe5Auh0r14ZRCxTStuqaWsRZTp25ysMhTJzmAaUs8w5ASfS+a5o+4eDIOzHuQ24Gpi8v8Y7fFS3e36W8HVmRikIPJcrDrjCVE1/vv6veYYYPAQ4WhuVdj3neSG6DhUE0/iBufZAaJ83cwwy66bPVRyTnEFsdnc8EMu0MMGWBp78DYa9URmXeOqr/y/YTimA5/ZfSlq9OMMj/x5CPDTVUpXCaNVj8xKtl7Ab3IE2gh3kbt+Mr1cawM7fPuE3vqYD9gAqWAlTC6cmXHdIeToFKtlNdMuDUTwcG6RhEZHIWofQ4PFGLAvC5TYk2MuT9lnV/ls2i5hA2YKr9s4pbuc/N7RsQ1aoGiNs0OYpBIjAfhOH19kYfmmjmk62g4Yf164ueKaYXo+oiCVodgX4TzZ6Te4CO9e0GVANWice4erYItT0LvrdZZEdGvkgN9+z9u2uMCD0NOnGXUhOma8IvjZipapYFt9sXhpA1NW2AQC3ChHe50BGkqrxqNcTQXQ7B3ksOqOH9QV9ureAkqFZjiSapYwcsQIugFu2UCShPRtbA7Kc/hAyeeVYMPhmN7y7Imx0igWWou/JXaF3aAPYHBDFkazAIjzAP0KZP34GmwB94dQO/qrRxx+6U7CBWeuOo/e+uD2Y55a61YI68v5RB3L62eOP1c29WSfZl96mDpEB+iRnenv1E+nV9hJyUYp8/gOviXp9bAWZjefAmcx9UphotaVx00EAxNYKH1vIsyGDZ21m5lKbdQPECH3hzLlYtlZFGgQY34Yi/cSAw9xxVH4Csbu+ahJEt1L6xG1OWLZnFbMzWDqLKsU+r0rBupSSv/GRKmcpJf2t6zpXo0jES5lqiCqozEGNPOmU7nm+Qi8Kl8IuAsUrunn61CbW0PYlWX//u5D4HGoJMauvQO5Q2cyUUDRLaPvrE9cVEGza5eDmXmH6qN8p82Fq5b5lm1bMhKZwGyI0siWtACvsHeBoLfr7S9zc7s3mR7DAeompDoSJ/Nh4TjQFPDLQ5ykV3hvw7f8vipDdmpBPdztPo21aj2jABsNjGD/E4W4yZuUWXEJbwUDUrDiZQ+LBEzDpdTNWrJ4gI9WowN+mdbjfevVAn7lrjPz6dLtel44LoYFR9+xybT0aWJNv2VUUw9+LaqCNq7ZA6bCwrWR5HE0de+72HFVezIcuEuM6hEkG+X23SU+6v+xRzzr7f0kwvDAy/wOhbNHv8/O/3W7vVdHgcRXhD2IiGM/9DmZ5wVJoYx3hYzClQKvqkXYhbRFBScXqSOrvxWXSiHmbFWPTeC92JBBJkSxKqJFd3DtKq7XZSXTnSmjrifJEdQtjF4ZJb5/q2/d/qCTuGa+Sdx7DF/paYj5dCYi+i06xi9g6C/IwCJS+IX/3JsX/W+MXfpDLQVXSj+8RZUXHcT/kHkeSeJqrOryOrtg1/4MtfzwtCDDXrf19BQzf6gORWEBR6a+uwkhOpOw43p+qXRIASZMpBPCWvB8S85Mfqs25Jb5ezMSf0bUyoDvsdMDtLmQJVttB3M7wneAuZoBg2p/eQUpcp8OjBbQOt+AeTw5h9HxQ+HdWEGf6LSxYLifoYn6yZ+uLVVV7Jwbqtmb8rCSAbSnMu8sFrAOpvuqmDMsQ72H6jX7XiVzk6pQQCYrTd49SVxWbrRTV1aUZmm03QmssAWCkdsK5ZcNkXOYTvt6li65TdmckXQY/uMkmuqSNu+qK2tX3O/5oQprM9hwcJjsIwtHr14dPueTWqfyeKo2XUn6cSA0gHQXjAHr+ooAjRJ6XWoIxuJDwCxMdz0p+ov4irdjaR0IdrExQFY6OJ1nJmjyXV5uIYowy0ArTT2fWs81F0Tiei4Koojn7q+g4Qm/+OjG+Qw2ugQtXnrD7lolVQCXcnCWEePmWkSH5luUE7PcVe7cGobQ041yga5oEHYpNG0KEyWDRKkkgl6ZF6WGggWu5PZFh83OdSAHIVMMyrDWnBF/4/hKQLlb79ce1XP7i9IjZdzM07hNW1cqV6u+SJtJKYuwKgHJ73bcEaD52vA6DIvjj0hWYNxne3B+P3jM0aSise9mQ6iCcByPCWukUMDFy77ZoQkc2PGrPmDdcgoq67CoN0PpytZXoEmg1ZyEOKgFrP5zC2ewr+daSoG9s/DGRrY6m690qQcVzB0+jTFoPH5RKKceS/ISiQ9RUjnY61iksNSGDt+5lm5vZKxjbMv0zVtVLm56OuvJ4pxSybWenMIpKGCvE/L8BMQcklffIKWx7TdCWqO2bdAnQHBhzLVy/l2WgYtafqs8GIP1c2tCz9/VjRNje+mUN6KSnplDlby1vm/jpD3ntDDl3mMu7GEw4a1YeyUAvYFJbhnNOgd1BVWaN0WbqfxtJqqQj6zCLtffPPP+TzWrMKli+jFLW6a+iGvAfdxBCytggJRMCMc8shpfPrsJk/+AF0shykrixjYWOdAbaaZjBdN6yXrpbbiCCIBPLqWDiMgtt/harTmbYjj+HlQ5SO5cvYZPFe/9MMoXvzt6E2tRXGINKJTqsqnsypPE6dO9B2I+zPTNIyMh00xUqH1HaRxCLNbShfrsfLAlmIrgRtAFbbx5GnrYqvofW/3g1xv8NcNIvO2QXXkfcCSMXaRH+j9XsOeGtk89CIWIy+wj98kSRnQznRFye+dncP3j73aZUxf8bRPq0ALjbeXcq9UMeYRe0fFJPBZXwqRwDMImgbTuIqI97ZiAdgDU6oRMtCed1uH6iMQLEXOrWpnomv0gsGAInVPpcZQjac+MEbbAQ63IGHh1tiOgjWqIhsoAn1n0wBPCRU1eQdc29azu/5y/UA//J1TXXtQ2J1JWi9dAXmvtHHESXig3py4JdBahqetCnOLR7dRNRrs4vuDbwc8bx7SSBGuzuyzh/61en1LSRWnHm59GV6tsgYTdDVdaBucCIMnYucdxJNMoIwtqZOHfU7J/ufCALv0A0bE4WVMo6Eyb4QcajC49ek48fRbRuZG1WtJlPXiD13KppReghT7TSRiZQEX0mYoUH2jECXo+6JlfkVxyYSaMzhNIbjDY1jvOg0OM+JBQbf3yqMW9cvEYhApYZpUSdNLA0yjgpubgp8dIKnUzJXlXUvayVXkL8G8u+e0et7W/CiWOVWVzL5x84TaW6phHVjqPYOIYHNSffDI2Hskvlq/WKTpuWE0kJawaHK7oWZ2i9UCUfdevY29tQsGlT5jGeSDtJEO6DYmRujFzTle0R8JhPvQ+DVCsf2UvIdSh4ati7v1kg7ffRhiqESF0QKFwbdIBpMZCCVAXfvwqaTD4t2xtTY+i2XBooRNViiJrbhbj7rWGc5s648Plhl4fAUXiyRXYDdZJ9UJoCq6v/GFq4B//aqmow/VyFoyRzNMwbX7M5doil+wF9+JphFrfrvykNNVVGPiuiUwC9yJrJWlYXDR8fHEUgxwp4F8QpY8PWrjV7bhwXULRFbFGcZ2GDIJnENqI70TSOipDgrKwpHYB0JWJlS83GoFUynFFSqFbAGN2gcJJHtj5Bpf+VnZLiOwnBDGB05Yptnr5HJD9MbeIBapBT8CRd6FjfozXv/nzyVxRITqVK546uPnogCem4mirlW/OcxJ46ISGTICrKmVqyX4RGS7q4vDS9CH5F3068T/g5g1/d+ZyMU1I0kYaHqnUyHbkXvxQnT/ISTLjd0/r9OjlaXmKzdtSLEeI/fnW/2idA0HSux4A4KicA/dUz3m33eja+6Wm5YvR/E0InP6BhxzaYwi4ihJ3HjFBjFL0dL0DT7/H8GGMR3/XaD26m+LD33l4p+c6sLqFV+cQquzmqHGMVj6T/Q5wbUYtSLpweUnJ7P4LEf90N/PB6rOL3fKsRIHZmUwRV71RfmmJeZ8NeEsiQm9uOFzHzhSih+QhB5wsI1QG+pVCwIibzRy6BAo+7gdtQF9c9szEqhWj0MNqd3zHssdsZackTJ/zfpDy3qPHEvcyjGNFYHruQdlqRICQ6BxsTmQGVq22MlpTCLiRwUZivga71heBXm2Hu6zHSn5D8P2ZtdCZQKHmad9ZVh+al+Z1Rw/c8OzaKBFFVmPAR43iWd85H0PDrGyEwNCFsGC7pESl9IOfpT9ZVt8XRuXGFfMYury/IRIv/Utg7mKjtTtwG1IMt6A8sJYCMgrLzTlwgYXj/SwdSb5KOOETUGBys+hiVU/Ih4zyERrtrQSnadt2DVAy7QjMXrB/zNPYr2svbeptDCVdIwlHHDlfGJByvThbVc8xKo2oQj63QUpdSJu0DgHMjC2SreCqEGW8eTjYYpdzvou9/PwNb/6Ai6woJhZ5erQFFols1UmLGbDPOEPhx0pdZtvncabRbOTLT9A+WzroRAIYRyOWb/TTiAYecLzs4nI4o9iLLObOi2RmKXJwMVG8aJrdWt7c8ScQvwbyKXbCSNKQR4XcvvMhoP0pJnbbRXOR8YgXKSGYiImwkQj/LcTHJViEQ0IUuPhglDd/8DtB9dcpe4ZsisGq8kOms+ZjZoWL7NgfatsNUq5BWdz57Awtoh8L7bUXfblwMkCmtfevh7p3zCD6cEZ1yCo8ESjPCXZxYWSkqSsk8+QiVsJ57EeTjEFEmNKZsp8rZSeM2YfqDumEIRCGhN3155dE+FGOwt2V/iHCnzNE6xqGt/koJYft2LovMa+lOetVAvt7duZ4oUrfGLyxeVCWMFem69xPRKdvR/OOaLbMChVtpguUeWCswY5W+dtkgPG/F4HBRZ8CWGfKijQrHGtt52iywni2e6hwpm6PG1Sb0jwE/NKzWR2wWkjTmUquE5Q66lFAKmKnGbjrUm2PlLia4ZUgr/4o7zrK5+OOUUCIkLIvupjeGPvuTC2qYohbOoMoloabyhRkTqacdpIFDoKaleW1kmfWwmtDBZt5gohb1WMcQSIkShLvhT3huCKj5etlC/q5JZUy0kGs8KFjBxkDQHvrhvZQxKthLGttjrDxNMCUNvKiAQGuxPgLKi+hxsTw/yGNIjtPD+KQWCGXVctL0hCQCgLvQuoyJ2qBDAMbXHDbihpGIjBRD4werC8yKqlk5UqlCoNV0xif/s9kZb49v3b3bZVeTrBWMsHbR7o8LQZ0lXumLmRIpFj4cxJg0Nx7lvmft10Rv/FkmSWlaeKCP+qqz2o04hcyYechMGjJpPja9LBlaQVz9Hqw+M3RxolBjum+wccuGF1WJIJ6D41Y5meJsmu8IMYMOUE+ZZc5fkcL+E7qY3bsBP2oDdSpd32DtVxUEiJ/Z/1T+o8GDl2H/TrjIoAIf7r0XE0tSS18YdqqoN5UDET4N7ejTNYVZNWevX22YxPe6XfqeLdDMs42JXklUaPZVGL7XbQMjoeUVZ+HekJOqeEZQV9aoAvHEOJTNT7T74qNIgU0Z2ZVuk4DDnEoOCSFOOjJiz5KkeXw8cR0GuiNw7rrLqcMFs8tNm0+F8Phrr+OoOcVEc7e2SvpzoOj/aaUPDcRPC1621TxXLCeCgcaEidkQbHp/9vt6Swue3J/JnvdJC1dh3rVAa7YQVGtR08tfa+QbPZpVe7ECpchFb3MpNqWv5zQEYobRWfOxXjhRQfID38XjG5b96/cGJxeEjqHhkTIGGTjnRHJO1mJAvIWQ0oNvZBTbfKLzJfRQrxdp7Ue0KQ2bPMtjoImUHVGKNAuuBs6Hy9073IJmCwt1LNVP88tprKjYwaVjpunM1UAlDEtHJfGjY9iP3+2IQrAaQGfUn9r+lcsHDPQsqOq9g6lpw9XjwbAAr4O6bOgtK4xOtgtNmwnOb0AZUGVXj2Lqt6qwxx7jrilxKGc7fIbgaJ9JUHfhVTBpdl7wAcr3KLy+u5TyTm9ZwD7d4KNQmuAtrrjI056+CEZODDxtQTxGRA0d84KDYfplvXS5rpgs3QvAtWuoY9Qx6BdQAY4z0qpAeW3W9x9+cQgTTSws9LB+vLqW9Dp4G47jI9weOnsis8CoIEf7vYlgmQ9a+ROLyH6PSrqMBbwg1VO2N821dnhO+oPkRvDFnPL6X6Vd0g/UI/rviQybLB6l5+EGUyGAPNDtajNKOrh4dDJqgoPK0Oeh66oggE+MiwHAk2xj03rCxji9y6aou6Vb3wMoJObLNek/0AbGIJPsZYmmWj5hjsqi19blj7qCmcOwvyZsQGoRFgkUVjRMYuTKMvvmF1fnkXMFaHEhuCDE05k5HfwW/55rMVJu4pOE58AuwiyEGS9EIF5IDhbsKa27J1rIoQ976FT1XjRLWRWGQE2GGG7r8bFzuNmkJs5E1jHF8JNZ2E62RdOBJNM8EyMgtWcnMtm/mAHJgmhg6A9LXEGDxaJVkfECJAP/mRHNGOxBV95BezFImgj1nunsHFjuew9u53AlhHgUMB/BpXF/m7a1HicoBGQuwIDop64DD/XhAyaA9Gbgp9N7v9aBqbt4gl4nos3hpVLGYzQkjPZfmTX9mGXYIFBQ/gXQ0FCO+XVr48jtZUJfQXYM9Vt/3bh5Jxk6j4oyZhSDAHQ+iXGFDha/bODz9t/J3vR+f7265lJtw4gt9pK7uYNZn3SUDD0pso7EUFgRDmVaa7QK7kChz/cd+kHeyoL3KFPip5XokWcHUbSFwoMJQ0S0VjYHinaod4Ntil2JhjlW7kgPEY7R9SzKb83C1g2UiJAO/kA3FehL1OfuxNE+aeaWNySxtdkT3TXBgLxC/wwzxC7Sjvlz2SycqUgnogantWZC0aFE23VaBW2H4DRwXFtKVPBZlU7tScux4ZyZ7gIKgfOcej1ho+1NHmZqhGz1BOxXbeA7JVzd6fXCAtWVlQtI+6HLzTbD+S3eOEWny4H7CQUfbRtOLf5UBuKlIKfyDV1t79RmnOgiSzHrLbDQUJ5eOYY2tZDCH9LAjxLXBiImhN902IKAQJ1+jtRqxvwHNuV8HU5eYN5emAw1FwrJZFf8BujT7cu0LwTWs3JBh5rKJODRw9u0J3ErNLSAU3AZyQraOvZIcHWQQniQ7GWpLu2ZlcoSuj5uIkUY/BFbepyrRbAWmfbBV7XD2LDqlNQ333x1Eyt+MmvRnDoAfCY+VOEM2QqsXL7sy/iQTld4Eark2BdYVFzOAxeRjFR0THQJN9dej2xxnEvfNi2OAWiw51MW9jr+vcHHGKBkVpA9aDzYw++M8wmralMvbAjLNXc+o/QzNLbh/csrJQpt0xfGQLHzKpyqv0XCiEqnuzAlU7Yx5cvGUiotUkyCbA43BAxpbTV2lV1dgTVMhN1mr1o/8ppdvT68yeU3Ad/ojW+I9UnRs78AzjvowJUQn5cicPvh56JNqhgt0UuJNizpbKApjC2iucNl7gSncUtOvNro7yPUeFQr9CH26y9/qTNVe9bpyQP7XeU3ERDVQhJGuzcKUOT2wEgukY6zqmykW05EX2S7MNG2tL2fsTcCLLkXfbgyErTohG/y8GfJabEVslceEXhBvZjocZG6oTY2//3uScmzRgXnUKfS7aRTYApTvEve2wSnPa0sN5BKK4g9uwYtX+kkQbdSJ74m82bYZkQ9kk6mknBovFXi3FWh+c1lRmz89tdH1CPDVTmTifyHGMZf4/kQ5b4V6NZQupvbcK1HVanDOkaVrAFRfWI1GHGFct3j/clGZ76KJahMGrWEfeNHoWK9vQBMmyDpHQB6DPNFB10NFnRTXCekNKtVueyX5nLaVOXylDf1WeQtgU/5g0HiKFec6qLfwFo9UB9xOxwlSHEvFKhP9mK7fczIFK0mzMv1PouKev7igrbEG1Bg736otOzKOxrkmVxOrHd11kbeZnUtVmaw0be4No5ph+6GkGx3K0MwZ4bR2f+MytXCdE8Py1OLH9pcSRYwaG1bnCxT6b+OwfFQVb4ot19NHEgC7hIngFTva0paPx9+BJhnF/1bdx0tfwThEjcMnoIeHEy88OshLekwoga4EEEbkI9jp8oL8mXrcnkzHkFilSTVQMKhmvjhnaNJRi1qgobmLKSPYEpjerCNR59IMC+iNklfRLLAEJsM0dBsVSy2OkqPxvgN89XCfYKaB1yekgh615Yh7X3h/gakloHtsE4ZdEFCk+scYXYCHClxnjuKp12FOti9hYiesRvovyXtqHMWSlhUxu1qOMzrErgmM7ImMcQImCaCv6vhj3kuFGSudDSOEwbOmQhHrguVHnbN9SkZuh346/QYD1R8iC6QPH8pCeoRIc2Wuh0NahWL5zroxdohf4/2v6v8iZEZuJ39RAnEL2ws66QBB5ME6VTL46VTJ5yG1QHm1xvYSFSFAQVbP25GlkTQGMG/LwRVa2vCiuXQMy8oOMzkcr+utxdywQ9dfL6zLzZHVE0BNNVK/nqt9bBB+FZPhbMGEuTlHTujdqWUrHRX6Zn+3LBYeKR/UaMtZlvlXqHnciS5AMEztneGaty9rITpo4q7r6WO1bBi7TPwZ1Exm9Z2A6T3MLSGK31FnJooiXys5Y0Ib1rtBXUVhpSS9lFV96r7xOWn+lLe/f5mlcKQelt5tRmH3POboQJktcchpWKARRQumYF7iMJzSVxfzGgNj8sPsqnGypx9BjY1gZYXNitiTgfrqRtIlhxRaVVn0+bOAROWMuCqfEO7J5mNLtImU9Q9DZsu71BJ8LcTKtbMeA9YPAScx0u5tJbO2Y8S/MFyxwcK3jxI7z5NoSVoSOGr/WLWOLNLvzVDudOY1JOUFcwlRlwy8dvq1nYd899/TbOgKeQxh/eQE1hWm+Slc5cbeoHkSSymFXhvPJ5eb4xXeJvjsjIjNsmROzCFl5bxlm4lQfe/WiK8iaJI++PjfN7Gpawcgfphkj8PT25QfA7IHic6IlINoWtInXEjuPx4s0rF6bnJqJ+X0ip8mcIyx3NjVGVimz17yKstrWoCrsiTT4ZsdLDrZofpV1gcB1EJCi47zFTr7UR2svpUudWpjL8644PXyYXDU7IIwOeUNIiWZmcSlz4s9q4k7FxN4/WdxKx5B/MHBFG1LviVJicM7S+Clpodt/f1RztaFyT/PnFCIWnqczV6tFiskQZgau8RFGNINPQirfipRKDa8Td7RSqAKblMkOOQ/rIpSLTsdd2L5K1y7glZjWPaGR3B4tA8AQqHOUkD/n3ZV1B1Dn6x7Ju1JLQa/Lh/FHSzBqHavZW+23KbpMu3WcvFI93IhTXesYPnQESyjmsSvKf0FO8Oxj3yHGWzq1lghEchucwcP50E40m5F1gDawABCRrWGSRyj+y5Faat1ogKlnIWvIKQRZfQecrhRbSa7qc2Jv/+ywMMSdGV07BgGMqlNZtrieM3h1z3VqPTEVtMksk5atbuu7QITWQ/sFrb/RtU5HUcsh+fY5mk6AmGBEXKKVfghfw298Nb4bp558P1sUWeSwY4asaJ30zgP8DFTAvsTbKQcRuuYnGrzYGY/b2Lnt7aDFPxTPcBFYyv+R7y/w+ejSUCwmVHaSdmuAB89DNaUPvhpPzz0qUThdgF2lCPDJQ4+/vF7PbznYpC41ion1kncGzsRhd1Y9Sr8LKyiz1WOEzhok3gl3frrAHcVpOdSeYeoQoKF7mpntXOxckhMXrEL+HZMPIMfDlqH8FALQuh8I+KiZ8Xy1pKBUZ6m8VnSAEmafQtcw5ztF87xf9HlPC8QDRsJFsZVKi1jKDJ7YZFWNN8BJIJ8VAclrrMGD1fdXcdMJnMx5qBOtO5AaP/Mnu5SVt81TZvuRB/HsWZp5vNDltmE/GB228gyKHcXPbgbZNmN5ZHN3N/rKh7KomXy6AItvehCo0vGKeV9YPsqyj1vXLz68Y83ewQkXJIKLLG+yI+BUnoP0WCOk0WeWrc2iF6ocmrzwyV5cst7p3tzo1QhoKRNZj9VbNg9J/NR3cNwzHk2KncmRsBVvcPqKB/ELAgkCh5oWqcz4DJzQV0UFXReLVw0e24KlglO/oNrel/ZwNQ1PPd2j5GQStdu3bg89KsaicmNby8SX3FDHL2RY0EoQoMXKjLeAgfb/UOnL1Tzw2D5HI1I7mxHYwFgRBb/xCVNVtzY1cLCDY5jVlfZ6xOdqq+MUvnS7iFMZqJdRowTCj66HG3YRQ3B5JL3DmeHH+cUGv7SFtUYqyue+zSV9lLfdiJPRHxY2xVwfc04O0aCpmdg9A8Ns/DKBv92n9NlOeibR2Lftz6tG/efxWdNJnWD6ObY4mlJI9G+8sIgDvScHQtyHE5l9rTy8NaRmR3frJADBI867FRSy8EnYndgELG+9q/X5TTtscPe6WKwSedCevav0z+Y2yHR7Tkprs9YTb+X2NvslYC6C1OUadj3W/gSK+fGER7L3XXMQNNvnw7mz9F/LI5fmiZW0o8KVRy3+DP76ugnROKpj8MxtsBGph2tXxyhDsyjU/Y4N9/Q2K7C1E/rpVohGNAtgY+8Wk+UpFBTxtdxyZ8evJtuVOwn4i1SaYMFjM3JTBSBi765W2fT7MPv6SS2+I1ZLh849XkdS/pNxw4QDehVDR7Ybp0M5orBV8A5yUAweezrOGnWrvxvpDTyFGZDBoX1vX1UQO3rnlBg6iCVnGdwHRT3jXJNs6t15gZdIqIcFkO1GeRIKcLkiZDBCgqJ1pFxipvvV6qwxEpUh1l6Gf36sD6NBhiBjezfLsWmZn3kNmIu/Lj6DbZ5F+G5DxabB1xgbFx9Y4sWreicl0S0/P9YT7wvN67ShuMlMermoi99/elBJdP7O0TDKlJMQJEd8zNzGI6+I5Ha9V45dShscBFwWYzIcfKRhWzwOWNl2ZH9Rp0ajHsK47lvR7czxH7RwvQt2lokNpnsJKFly/zFs37E9x5AgiI5RsR19FHdowfqZG1lk0FyMCPulWhieEFgS+vbcgwRKLu29v65WdfEhJa60bw7UDpuzvuI/xEWqA18En4FFi8+4V5djUSH+U7mt0vETzelItP+QaXrfQAcCiLAGzWs9998xAWV1Lr8s7uR2daC56LZre9qSrMoofzLLViPzM4L7p++BUOt6nehTNNIRRtXKAPD+FEQNWisvUwl94x/x+clfKAUkqyzJXhQDnsCnhdfEDfOlNuQ4RHTn3/u5iixQ57XVLL/sXOmQM1uCjgIhczdPU6xVad3r+44pGHSrvQRFHUkcRvyP+Oc6YqwN0JNlgK0zJGpd+gm8fC1cC28z7wyATHUXNKS17gVjTdqa0cZMnVH0JDhB8Gl8Fy1Hx07A7DZe2CnKEs3NCwh/x2Tm9PIpNvoByTO8dcBdv8oUpu/L0JnKJMURM2inie/tFDGJupVSpHl6STA3vSc9L6XBfBi7riloI15t7hZesPJj+VAvPCFQtL72bZDb1J19GR903ZhaV+86d5a6pqowK0hqmLH7fw9n6dRBOmhJUkLgHl2Yycil1rkZwpaas1gab4/cs4DVBQgoCPV9rIs20J3OwWyKuURC8/OY7lB8CLIVcQwf3XqAubn1fLl9CObLt+qrns0CEqHIYGQcBkHh3qLg9KiGCy0D0OCgR9qzfwMqeGKSVjJFmZ7hbmRLlp/escF8AE5CTAwQfk2LI6naE+6OO4oOccpR1md8l3p6piuX9jY2C68tRk/w9VvBBnypGron3dLtNrUWYfT1RzAJ1MbsamuHBm4I1YBBclKw1RF1iuWe9aUL7jAD9PQEq701HVg/m6RS6N2bRVGYFWaqprXk3FmbR18d1Dmksf7HCip8KyNlE71423ynQrsbTCUKaZWZnrjlLOmEJ6jTvHYdPkPeLxEeq9n/yn14woqRr0p3uTHN2mlgX+8OsZb5LK9ycaUQlFv8BFHKpu0XylrbOB4IvCa2ngbxnQ4Si4b+/6YHTv7Vs0oh5aLsCGWlOuidfAg6zL9xSJr8Y85XkfphT9rA75pkiex9bZIEC7yypgNCkMUl2FHR7EEl4oF2FufZxDYt4j88xHGqJEInpGdXuHlwoWdSanvjel8vbkmPrRt7IDWa8RlaDTxF0P6p0fYIhW78I5bg6FuN3+HM0cdI8Icpa5cOSNMmCBZzwt+20uUNEWhDJkv1mmihVg8d+m180KyWBDbY7bLcSEzzn6imGuMtqMs8so6n8DV8o/B7Xt3oXNN4cDvo/8Q0wlrx2YQ/zhQNhgEWcjlyszQkwfXNJROdVN5OtJvxjvEUZhWQ0yvwq2ISynizUWF+XSuKcE36T+yhlFdKhfJWoPbhinaKI8cJfHm9jDHQ+xAPuf6myoV4mnoDBVXM/ybOzHKnC4OCl9h/+f0F7oJ+gxlqlo843AHHT4NKPHmwzTahd5HYMTX7DAhg1ts0eqhi/9Vegr9AW5FS+cvmOOoatsrusFa5HzHH51N++rPahUn3l/RwxJjAMpTY/l75pcDwfjtU//xqWs4jLDxYnOUG1N9YLzZ/+Pv/Gt6gnPcYoKfs6xWgtK+7wsi9rPmpX/HnG7ONukx43Z0ejX8mGDCKdvYkgeH+McdzzL8tEVjv6JfpWkW4jEXprsDyLzPg8a02mCGYCsVlXbgT7FWy/NEMDWpDHq/70GrPAADa/KBjbqwlWe8Y8rB9UXzmHX75QtRd5AbFUKQCLqUBECO1f503gcUvJ44JsApsbu7nbjSO8TNqr5tqhOX7CzKAPX1MKc31acsGC/CKPLr1+2WX6DAbbW/9tLMGiIxAQFhOUFvb2JPgHjy9fzzaJBGx3yOkKUnEQorNZHHydeYDbKYZzOyNikVQryQ3G7IlCgnOlv0cxuwFVGmkedpEuc8gg/ZcPDOL2dNQi+TaabgjbpVQxaTUpU8n7hQoXHdZYXX/GTCu+0x7Ev9pehuLJ4xZuzZyCVB8psQj8cqfzScSBvk2/HbST7G4b0leQCfRjuNpdcFYBEbnPZNtL+dk+y1Jopm6WYfVCKN1D/JAm4SkQAGVxpZugKMy/tpTct07Hr2pvcpZvrpEGnW9xZ6/99MCCBu1DPYznBvugwKshQzuL+u6ADMZN+il9qWQ77qbNRMooo96jSbYQ+/LWUJctl/oqrYvBxcbeCGd+NXNdm8aFPbAzs1AWXFsT7cvTmf4HrUsgqSVA8C43mCpuSjUws2eSc6vDC/cmfxaroM8at5BYFPg8IzPuz4cPMmIEXqTKA4H0Ed+N6p/UjiU/cG/74S/0nwlG49gfmihhFnXIprIphO/92D89WUNa1xyFl9P5i8AzBKvQeCKi+5kKfRexQidIQ8rkBn83sHqVazwQShw1Xawggvn1/ZU/z4Vwne9AEieKugH5s+KWqP+zJsCr33BEEWstVS2lfZaAZdLPvEXI/F/uFoCb355SP+kuVJUiUZT38C+LRo6FHWJ/f37rbL62bwzPQ97q4aNcyN9fZuqeB7m+5dVcMLhdJdrpa+x30P2Z0rE3Bwv+TqP4bvBZ/O+O5cHv/0I1SAvCmJrDMy8UQApwAbdSBqOw7Z3QPTfNRp9e24EtsL/QE2i4nYdOinxvXJsQiFod/lPn7SPyH4PRj+Apx4zvAB6OyYhGI+UhRd7hwigD7tzr+J6FktPQlAYP+66MRiOpUcevIVzoCa5jaonIis/fy1Xt6JLo8rTu9tdweOTJE54TGIWmA4PJRd0z+cWyi3u1FemANBdZ/aVOLQlorKLWjq44pzlPEN+xCPLJwbYGiUZVxsRhKOoH3H5RM72Gh/wHrde5fhtJKW1HA1CFHFYgPfYcKKyBzbiaDXAahl5GaZzzBCra0h/neWr2xjtfxVzeEgB+br02F7QRcCGfrRfm4Js5I27IXyR3jlpm7sw8Es9TZyWh4Wyb9WBzO2ax4zIcupmmplCG0DG9kO9hW6lkSiv8eoWbpKxKX8tpBEG7b/uN8Aj9BzQiHI5bFzeaKjwM07V6lQhaoMZGaHHP51z4gaWRfQMpPce0sBKAtU3WA7mHGciaLnQD+Ep3T7sYvUDz/fL/714CBcbcbLlhPvQKtZ+anuIW4jnPlYWsYXA9YBDLEyAuaEMLUxHm8IfNSkYOSj5JotsW23ZJzM+SbbU+bEQ1WFRnZtmNuZ3n2OuxtpQovM+S9Q0Tsj75ax9qEWi9J4iyi9eWhnSWeoKldEQCGrtj59MjHBNRK7MypoygO69sb+n4c3tD/huvltPryjRZXXRlshWpK0T1AMUvDEUTGK0Jp7brBmDDAqeyC6kg5e/EbK341MXoHAz0cfbWT5QYyhRNv9ecYef3WQMPF3m56jvqh8v9kqZ+4697Y0ahH6vHQSRAIReT8K7cB/wxURtmxFyz3h7Woouj3XrhKu4SAGAb/YJ+tkZ3uCM/My0uvruCHUsXlRr52ljucu85OeNh4ShDudM8gbqBYyQcuivpMsYn3STMvPq/O8esm8wxBYmPXK6lVYf1xZN5D0L+TupYvWWJi6xzvRWdlrQjjJBAW/bbbvOjYUcizAZgSfYCRxnFE6VOYSOM22CmBx0uhodW8LUqq4Q4DcIpn8iJl1HKYsOwVQ/8q6ozl8T/F5dMaTwCBHbgsjYM5lR8pmoN4iiayS5QF9YMdX5Qmf9SZPA9FNLAB9I7frUjECZUirlklmXzRi5VOaNefhI0f/6wNcxUyZ8iNgPflufFJiljOUN4M5mRKVMWI9gL54H+TxiwUSqamdOKy8cM66FRlEThs7RE06JOVRVw9hO2PRCzjyxor9xdChdngrJmswl6psulgvqcpHF4xAdV5QOBzXxaPRPC70nJCc2rAp2Xz5nS6/1ngsBav0O+3eMwdzUvhO7SZgl5GyJCnJGaXRP0hYsY2CGtQV+EjZ1gtvPHtKSbW7i2jET5DrIRJHZRAGoHuUtZiz2Z0PfpMUKcvL1+xa1McDvu4OPXeKsv8r53KZoN4BIF87qmdcAvwNEE4sS1lXQ2dHrXsyxSqxYthKfCRNguwtOHfR5f7Mh0b6ZucjxsBq10TI0IG+5wp1gRyf6Id2TjC2gAST1GILJGboZrTnDBLT1FLKT+R60JrKrBG9S/fwOke8vxEfMZOXXi9ITVdEDDFToFC5mATNMDnDHYE+O7+Rlpa8YoF0pRbke/lci3nU3bHx428SpGcS7sLWpPCVOjSM1Rzb6aLMvLkvPP4xTIW+y6MvL8viE5xpYp8uPVD4DASvO1Z0Pz7iXr433SkODLuksyv1nYHbGPZs2vczOZs0cWdzTeGPSF/mNbCDujLX9j5myv5Qzl7dJffFFfT3XN66i1nJknB2ZR/9oFkJk0HEN6o8Kglg9g6wjDvhQvmUOA6pR8AQvow+0gxHahG2N185vCOpstWoP3KKzNaHJN50gpVuS83TpjjfSPNtMjVYTBotU58WL8/q+/il4xLT69Soq70y6QB+qs+V7UaB04enWzHqQzCNAr4ed10m9TyuFUyvxv0rHKlIbaXA78lXWFNIf4wsDu21DEenwv/plbWpc2nEvZaDDoUY31VvxZTPcUYzK/pEdGhGQ39pePntxx5oBfJpEaHRSTNMRRZpLx7xuPHUQox5+OPUjAGeLw7I65AHnaVXOWmwz+svtlUggKOvTELVKajWs+KvtibQGMUD1s94fH8rDW760IaiysIDv75gFXRvXGBPXtu3r7qJ9zayvcGU3muMjNdzWTs7FLRw2O5iPlG1rscJduRU3e+EW+G05dSOFDin/N3sV8NxqR0+qT1+bJ/DnbfVq3+cX3ow8S4ovHeUiSuWUIbYMCjNTuprZ8845FOMSVbaGn07AEr3pRgRab2Pp4TYpQqP0McBR83VpK6O09KasPVJJ96JBQRyW0bC2zmdUoamasJLV969vVVdcuDTyFs/te+tB9fZppx5T+pM/9zTjPBekKnWoSa+YGMZxenr+OeQ/CswAhTxopcvXpBZ9/yd8njq3TW4By5FdmkqOOttEkcdTinLn9GMl3PhJo5TFdPKF7uo7BOSLXtqppKroq/3RahI3oRx3r4ZoADCeqaWRUQ7o9sUvT4AqnbzMWdPogHT8ECT1AiTo+RJc8oODC/qjVHALmF4S7misi6VChxeYS3f4Ub/m3Uh8AJpdWPS48F4nW/6xc5upN9n2ev1S/V/BIdm2BTurCvr7n6WncG2xq9G2NU8XarLyp1LWTKo6KfEKq3ZQehXWMuWM/CSgjPsTpAWLhBYqTUdj82QZ1hbO8BoOMdCeI/GY7P2+0Ps95ZxkOsEwkkvmhNk+40dg7YvwWK2oo0Jyrp4KpS8x8rYyeM69lmevCIwlCkQnwBtx4crbN21wLzVk/Z8Ig5trq4gdPAGatcD9XhhbqOWUqYuqZOMRgBae1200pog91ArbCE2tuA6VgT6Ylm0WM7BT4gUxwEGAIl7Hm0YGWU/SgaScJ5tde2D/O90oQDjmcozx8BuFkLXHZdzHv60wQw+F9ejLGHJiA/UQy7jt28m0xc1SboZowXwXBv/9jg/iei78lBLYPZ74kkqLFVUOA//HIH759m28+0iQ/yb3ell1srgvZB+EjxOjGwB1b0SltJ1HECASgjUxEHWfjAolRPbDBWWjqj4NoI6rAjPloku024wUa4zH8P1yvYhVD91p8RNkvjmpcW3yG7035vm6GAG68k8VxZnh9M/H+XBI8sZxJ3XyT82A6x3tGTWw9aY36aYSQ4C8N7Dn4AAWOcYJM1EO+R9eZw0I1gR1jenzGnG6GsGPKcFe4a7chwAkjGfvuKQ8/2UaHRRZi3DidKZBZRSIsPv6ce99D+WT1wKZr9EV34juqNfWqn4HirmoWyyE+B8k5qApMZkyGvRHmiTDPFv2ewNTYaEvsEhVxBBsAH5z4LSmiRguV1s7BgGq+fdprrwueXavud75JJE6tIh/ZGXbaa1mArXIi7v1ZA/WfdRe5znlxhTYdbzdhBa61EJcQmo7qio7zV1F2XQA111MbdBXYOAlCSt/x88Sxy++mmem1KWQvYUkDSkBID66QFwL6GiIEzmhX213+jTmtunup8Yax0JowMUxyV5FPE/Pk0lY0zr7kT7vy7gKtYlPOvwUSBYCdOQMrOzm7Zg1WZ96tGp5DJO0j3B8rC2zPYYuEwvJr+khHlKCWFFr/s4WZawF0C43s20qrjga5pHj0ZNICT1HOU0djzDNbKTQheBWb+rtZs78v5UJfdLdeBjVerOGnf+ZBzJSAeQl9HP2iri+Fy+GVxWg6LUQVVWHsyPJyb15rWWO0ISL4ooMyx/rYb4SUZt/AQWmm2R6KMkh0nCWrjKnmJThj9sVJBXask8a3Wh3pyxBoZXsvh3xIY9vZ1ktpvs7qkWKyYyOso2gzg07pf0DFYiHpYLuyGbP2OHL1JAIxY46g5JLkEu32+9yB+ygGrkXR4Xe97H7WfR/RbA/GAKg2EoWiM3Zbp8BkkiJj2ebFM5K+n00Kx4Ne9MBznnI0/d5/Uzq4nphQiCSkmGAfd3ocOMtD6LxL3KfAl/z6GJts4NifN5rT8L1jXE6rrWzknra/cg0tKnQcllf9DpclbH++2AXEI7fuAZ2T7Dtujddvk7sVJr5CuOpIffni80TrEaIUpNCN9WuL5VsV728OsLimHR87EOppYKAyaBZWRlzbf5dvgK/jsTKJC+iEpASa0MTMT1p77TtdV4uZwmWMmsHS0VhpumXWkbaByLMOATO12j1kQCEvQb0/aaoSmsEi/O3ers2FPSeQL4dFNOJud7hwq0xWUI1HHPLbyVW055MYBIxvhssC+hdTji86+OUQ9zIKU0BDlYFg1G5gyZACKR65CI4FxzzvEmcjnPcQAlxXCBGET0Q/jAaEKN1JHCw9pjviiZ/FXKt6WwPvaYej8lrWMOtrMdQ0KSc/ZDoEN0hsg/FjwAKeOX6QRU/VWfiAVNE75pDmN1XBItNpg7rl0cLEUaSmob6oTJoy40o6nMh9+qJ43KbswgPlQT6Zj6pKnQBDJDpZ1Gpa9MY41c9rdjyKSKOgpk27XZbhd2n1YF/8L0AuiYVUTHUk89PRrHfuHTDk8G9oFjImWfITwZCGVZ0bP9zgyhVEi9AJ+rHtMDoeqjTz24KorUOA0HTbwlYaXeRNH5Nt6Pk8xjFqHROw2w/OovXFIn7UUU+PkUuLs/7xLEzGS4BNJrxOVBOhHkocWsx2xZvzBn+AE8kgneYuVYY3hFGffj6uKSBIzurwxKni7yvQKJFVU+oqL0ozEg0z9nF6zfa3WooUOOQtpvoCPCkum7twj2MZwBcne4qtb4BG1LnLUfaJcculgCY3BBERr449p7J3w5eu2IaXVR1sYCt7lHU3KAyKv/aL9K3gicqFXey9V6Q0nFJRHZ4LHc1ODLZfSvxTT2ZuwQb54VECGZquvEhZDdBcaXP5coWlLutBgOWgJ1bPGgCsIk+oj657TXpCRwXJ6x/GC0f1CBPlOJ+7LatsVH5y6+RL9u69rIVxl8h9uOQBV4OAOkGm2KWHnxuECDw4O1QK4OUEC4BEZsBRt8eQIECxPeumat1WQ5JHrQvXTRyVed7ntcDQb2yGhmAs90qV2pAU9/pa+ZhBNQ40Uoecg5S71NQKSy2dBbanzSPCxob/6uLlNz9Pu7HHyTtz/lyDpiWea0IgLUGWne5HdNjC5wsbV7R5lhlyWOu6nMjnAdewGL9PYO0a+vcotSC/ckVIsSPiC3KOIpidYbsa9Edx+zzTwYTd/pEznx64A22lHOr9jwjrQaDgSPozZR9CIKhMYwMNbEXL3qrE7ix5dGJKllHQhNb6ePQdAaxHgHya1bBQtfoXL1pCDK3jvCAYgbWzI+o12rT8CWECljY/ArnTyrDas4zB7TXglPqXniJr9G9QS18kjiC0/M9TM/4g+6G71TymEgQhS1fOYrqMeucxg0ewgNwYNYFvCUO/Vq5Lpo4z7oZ+I823bqrrOf6u+S60NHmlvF+C23wSAAt5EVSXceeY1vrSrkY+Y9YNf0gZTton82a0hGFXETrqqiQPbvcO1fDd9eklbvktkOIhMdYTC+vUIf96V30AdTBwngMkuwv3OkpAY+HNuP/5FvgVmv8QnDczgQq96jdNiSPH/wVcAtPyoJi1idZvRR4xorgdpa2kDdijKjSjoboxlxNQiXnNKreQDRTlSGUf2c2cJHlVbQX6NNn/fpiXmlUAr+qLo70Q+/iHu24CVA6GOSnwOI/L9XZq7Ripe0gZxqcEYQz67zjRbacQcKkNcIw3jAtD2o3N0teDnpbre/uhJ2x0TiOSwHy11e+1xo6K8T9HUKszSqZwitY9xT++tmx4HFQ1XqUVSxd4LgyUObtOcZsyp2VZWStY4A/rtiVVnrOR4eI1gNCB+eI/aF9KsE5Onzji057DePOZnQRLOfEQMCR6s5sKm1qUHNczL7mfYhxdBHSyHkvfsoIgjiZ23ZMJiLBFx43tAhfpeo8NRTqJDCHDPEMZt7yaprN5d+OxnsW1NlF3YhnegobmfIQV2PCrtuU0EBteJ6+u2KSwrYucOP1ObDxTrJVHqIJ4QpwpSC56+qH+Ab7hBf2SusDNNWYVWiw9ZBfkTwdt0eR82AhFJPkP6FjVAO0SiYiI6RxHHD9uS7s2754ZOT5yHvYTV6UmOhzYqd5Glmh/eGFIDxxRGYSzTYuAe8qrdF+TmwiYKSDr9FEaO+zPT35IuT0+h+5Wy72MiJZQzbDYm6t316DiHlYlku3QOApC7DF0qm8tJBiOqc6luvAW6ZTNnbBUmTjHNhlsp5IK0r47PGmNC3zC0RIS5ex2Zw7KvSaZ/niNvJWQalNtaipnk1OV9OAJVNyZGANnjO3pIBiUwPx/Y/UQfUMwLAKVQBYvzgTimZ+rKBxAck/aeEk/or3vndEEH4Irn1uJjXVVpMWPhqr9YF4LFLzNLgzEDBouFWbPpU/43dnSJjMUwmGt/Z2bTo8+vqmQsF7szxkKFLupMF6DkFBsKrqBLCToSfgUYK7v7X6HFE0e4cutgjcBkdHYUZrfXjZlj8MyrhCCGUgwWilDPvKiCQR1WsAGwchzcbdwVNBnbKo3uYOSAr4KiHfPwKjCedS2IjvFM40Z98EYtb+H1EdkkL6w413eHV1StDUWms9y4lklhNo3jJpgJ+p0cPoBvlGat+wEcs4qkDx6Wfvx9ChewIdR3vIXkoza79WRMDJlNBTE1MGCUvbXVZJIIEHpne6+kJIsXtSKsb3KQ6eeAg8s/6B5zIy/mZEFtg9TIHHkFdxNGCmNMDZMZQbwf01vbfdZrAybwNuRSc7NlUgp8fOCBtwQUE9m+K95zl9cNogHMgyUmB/Xvzm0sWpTS7WsAp6D04hKHnM+3v8FhCgZ6n+1st1WGOBrCFUwr+Q2ROLUg1QYLTyOCOmMzRfsVe8dK1rUhf4uUlC+S+sOiDebJCaP/j9b+eyznKzCQz2uWJj/TSzJ+VTNcEchq0zH5MRljJMLgMS+r+6KglMLqN8LzHfBhBX3+5hEVqnAyzFgMOcP/sKaxVVHR3963TmIw6EHjsyaJt5hHDd79Wk5bVQlurKhprlnQgFLgno9WU5kLDuPMs1zxdFN2CnTu3o89oF4eITyU/CwwGQICUykoB/kneiSrguAkNcBgpgj0D9dVgx6WgpypWH+Ztjhb0S5vQRWwfOyCy7xKX2FO6sdUiELDUO8aCjU/ZwrzGWzybo8viwEAHOdV/gTD6hd+Kj+u3K3DN8di2wJfp86LEsRSoANpQ4QPsLWA9C0reOG5ZobNIb/s/IaesKV6W86GJyT2BgCIUgXRtd4plf7I/TAMnaaDRxhs9sxVjpyUyJLfUuZKQin30JwUNR54oraDi2p9D3br+oupB5gwj1/oC4wWb3dnx/T5KykscJUiqEo3Wl82ii4zIbBixd24V/4K3f8+pP3bICgfhKRsPrwwzocYK81PUsL43CR+5j/jIXsU9mL/xd/JIh43vphbZfQRkYPRaZgETw8Vgukm7K2+G0MMDMPF+Ar4AOhJmQ0YLw6s8vr2xrq9qtvAtvncBg3makD0gkGr6QT9+l3Bg9hSOC6TJiwTiLq4cWuoveMc9Tz9tLpzDT6tVihDLNfYH3o1b29W7ilIt4orxsWR7OybWFg7Zmyk341+PJjJNk9++29Ax0AZzApj3MovUHd9iDZba7aPPi3ik2DM3hEOqd3+nxl+LWdUAyJFPqFXPtSUWdj55iBItHmYicDY9T8s5P1LsWA2stct9AJd3e8S/CimDOiT8oy2t55qrSTmv4gmsA5I+DtEKUNIDE8kxUN2KhZYbeoO1w7z3A8658F7FF5eRiCoGDfnUIRkUZj4TWp4RXaw2f5xpTKyakQw1VSoboVrPx1UbJMJC3a5dLlIBx/UbHxAdMG1dezJejQIUGH8Epk9lk79W5q9BjS1a0n1SuD8UZpO2qFvtX7dRzd9XAo3vCi7s1yGZGaw9fMwn+7728KE/ZgcgH/tY/gmkAMV+2sQrQdh5XurNwzAuHXVHzOszONeu992k5XWirEjyNgFWWMPRfIvrMzmnZ3BZvhNNqwgiv7nuazuc9cgy9m+DA/0O/uBJl9VRsgE8kiG3iGzIGtLG1qpX78o9qIsJClScZdOHf5sh3Ii42h7+K6Z4uGHAdvx62Q/4ZkmnRmDcCfL25fuOhO44F5dJ7kY5LPVBeemcyQDd4MT9Fl+RfWIRlAyQO+XVVo9C18W473d4JvVLGDcz6BaNCwzVx4kAVfTXY32j80Y+FR96NTTV0xIQUVgDiZDcgyEM01z26gNhxpe+CdlrLxIu+BCCfiQyZCaRgXr3lqF+fvygGMl2OBlJzh0A8+3x+s5e/EkgvxNUvOR0DTtqUd+ujtTVN8TX8sdhHbgSXvcK75mgPCqed8v1XDnwG2qM76WwEObfDANamfPu0K4ssyE59IyWAS98k/MaM0XjbW49pVZO8KPXKSiLDUuj8JYC6+f6lkDoCfQzvPCr/tHuTuYG/T9GWPbwSJtSfZaX/M/ZXmhQfWApyIJTi5HxD6aVbyypG5+uxU61tg1/QeruSbudVl5UcXqJvPKefF0h+/10eqDDfMTzcw1Qi10nf7ztPV1fBlloUiDXTrhltxw6V3pbWvvFtm+bmRWgbO6p/p1QIJfCTNgER2Qz4pcXS5SIftr12PlNV2x7Vb4wh3jczBHGMypKiqOa6g2oyNdXURCEdP+P+iy2Tv1nRVKABkDVwD53KxBS946qTeG+ohUCKKkvsA+P1AkJk6s9KU/mE90/WOORecY6v9WmR5P/BOXjfq4Q+BvErT9oChM0bzsTLX06CwB4O5qjYUhfu+G3yQUtjLdlaNCK70soiPlAB/i9xiuQ4OmxRwnQJJNzwlQ5ibE+7Mf6aXHLE6K2ItXZnh48xg9YejVc/6Qk7yrVq7dh85efLnbZ7yLXl9lT/RZ31xxNq/D4KorrZvpepll9vKq4giNlVxARsUR63q3vL4cGv4Wmu7si/TbUi2AJz5WBn636dVgMqBVXrDDXPJN/NaHZfDhAwdsDeuszxcpG2DzmJfJC4UbFJ78tpQkkEEWSt5DHUR7IM22sy9V/XzI6HEUSrM+4isxOX7CBLJ+1xTQjMMvnxkbAtSUQCbQaR2mwczK0In65A84V6+OIlVMjXKZI3dwMin4rwN49265tT2WU8u0CIGsePzQ/C6fuvtmcnnJD5bJuBo4z/LRf+PHIbRhva3/tNVhlISaFR4ljyyDE166YxoU0axFEL5Q3iish9lZM2dmZAb59viDJ4OuevVwo336fcoEuGpYEiELmIGPHZE3Mlc6TmIgMhChArk2v8aYh+gQ+iPrbw2+fsDj80twqud9t7VGs894FJIa2HTK16ZgV7nlhtGXwsbOzyYOfdrlHvlwhfvrPifi3TAYH6L3om2Y41NrkrEgFq8yhNM9D9sfQCsUkYh1/GsgM7DiHmciP7BAUI0Sy3lyWkoO+dOZIITkuuJaYaGL1m//He+y+PZMIc99QxnTHt//HwE/9woGF6gJrwxjnXyBv/h3zQGOf0BZoY9PdJKhKBCMutRBsEc8vrbBsDVCdX6vLvwqDeitxU0bhNTpnvkhbXXqKq54XPKbHS/QhnMHBpqR5em3ganqrUGhP+oI+di6SfCJNWFWTcI7EzHN4ANhxcqBKiOVHcK7Mz50AdmPOBwYkprUyGAniKmkoT3IR4R8oQFB1804MirUQTfzIzkSPdmxCtPrWIdw57dLdVPZkCeHF3EeLvNSvwthg6pLjnWAGucOXVNr4veDJOss/V/QS4j4I1Ba1VY55xnWL1s3+lz0A36X/qe3AI8FsBvxTYepCrr2eyvQhjQ5/FAtwJxRaLBsLjeBo2sB0WlAghLrU2zNsHk7Yhqnawj32l0dK4n901Qe6rOv5g3QHCAKuEubtvx8nxJs888OTgWTsYezztVBmy15qXK/m2qjOnyz9iyaqKNGFLe/icNumLgFxiwLwsyYhn4SOk6DnrMDQVZnL+uGU2wVCp6Mf0AcmDGCoRD0OuVmiuounnhb3V3LC7lAETggkc41VgNS5b6iFZD720ctRlZa7V1zHudPHl1RSmKupBSq1C2Ep23iS0+UT4YK6gfwPrq1pQN0/0n0D2l0hS7it6HUSbgvS/4VvVuImGcAL+7iSkrA93+MtCHakq0Gs35Gyw3HK2uH2zdnZKXNGgfLKzB48t1O7GB1GgAHpJw/QFMMz1jr9cd3VbCEvknbZbNihGDZPyS0I+EhVlLsKegH6SmnT83xDS1BwVfwhHhpAnqXOiaiNm5FE9B2S2MmieT6toQEvhP/h8NSUXJk5kK6/ZOEhMK2/L2qOCBuuWSLHFdAdm4R5ADinnwBy/uwEflaav02KY2BCZotfxKbd5F3CyoQ3DZ3Yjvip7jojw3b7i/5CqQH3+L0g1xffDVg2LA3Gpx1kk6fdw9yCkP+YlfLsUWAS6GP0LWYxRiaXkM8vLzOYDKrD45G8EggJCxXdRGkXncecX2LRvQ8fTt/+0gB6W65fUG4/AFtc5zLklBj9VyS4J6Gt1BeN2QbDRPdpwdBIUhVEQo6MhfphjNw9pVxVsVZVnOUN0JaBIxblqAX8LMsbEHIa5ueK7Q7Z0TbwNdvWIvT+4Zgzk1SMuxKrBUFUrGEl2Re4s0liyOxLAX9bWUFcTDPlR+EGAo/tdwIwBbuZBgw21HItFVMuj2rwW7q+6euM1g5e5DPPXMMkeDRKjO/L98PD3RVbesi9ckNUto4aZR2Mpdg+e2bH6tzZKW2VbTn0kbH/4guYoxzLTEK9gbOcf9gSB6MKMhBa7fISGmuToqep1aROqfaFDIIOPHqbv9PRPiFl+Yrc2yEc+NBzAHBCpB+Brq5ngptnx0QwqZ8nrtd3er31tdz5Hj7+WIqCrCBA6QtrbXkVUFxlSjHYEopQFFRhdRUfxi7DtU52QKbo/vkoYZIISewPl7OC+A4PSS4MTWExUH+r4bRGPAIIFPc4/nwR5aaXWMCquH9pMckPQgFbkSR7Cz4Pl/xBoOHyv8t8D+uWuIjitQOFXuNa7Swi3eFP0tnGFj/bJkECWLb6dRX3sSH2fniWLBLGd5ZIzIv+YtvJbbbhTD7xAP2R3AQwMDM52Ri2YsEkY6kPE6uItT0IKG2yc3NKZVeX7BKwPEmMHA/6dFMgebZIl8fHn61Nqe/Eo99uzrMveubZjz3wIJbItwdPeDCXWiTgw5PF2vu9V9CYSf8r2KKhfNHFTY27vJ/l5Y5lZ5bCKcJ2KfsUd616C/hZCGuyltR7+4wUQ8dx1ITW+/BqDjPLuz/T+zAwfGBhmXWwGFWK6hngrV/E+NwPmYA1KhJ2qsyc7mHR5IKQfaTfoCrHBJZJZwoL1zBT09jqNMDBNeup0mSK7LG1n280EVyeyScfKdDQiSwNsvgRfkJNogZ2v7Af2utFAdYuRpVidpFgubUA/K9TRdYfvI8l3ZPhZMvXfTiEQyALqhxY5FSqfCJq6XiBubqSA99dbFdcRV08aPUNOF9doo79ySplrNt2bjqvh4aVpjIcDnCsylaHoyvJM01REMFcn9ybdIf4wSLsx6G5rsw/GZh88JLw3IeVq/OXB8iL8irUpsuxT1PVsL8QcBAJp8N6pfbRDbtYhA2YGT/vQC7GmMTMTI/NEaCSREYLZ6+x4DY92WqFG/1hjh5kcvaYQlE2xWzPP26EXTusrvXKMLEOPShAavBNfwZwDk1lNIaZ4l8PfFA841Bzx0uih0x9BUEVkBpFDLf74h3qHVNzvkNvwO6vCU/FEyqx1VgkBAK6VKVyBVQpVHypy3EU8xJ96YUPKiI0Bqc56OzgBeB7CsozzOCIy+SNkVcAbEAdrSZernwnep2WzWGYMB+Th4RBgCSLAzfzbcc7fd8jbFbRYrk6mzmcLiueQE+jignnsPHIFBhytItqwz5lrf7qzyzlnlctmjJuWpK818hDQgOdU49Orq9sO5LTJYdUPVxmo4QO8R2NZ280wxql/OFPaTMPHh8ew1rq8YqTWqwG4blC/wxwzbXbcsRLDL/g/LTDPCwFPP81erNUlbiLLi//X15JqsJ0CDYjMP3DBSrxFSxDFtkMpFRQg1P9ZGCDIP7qy+blxDePHxHjFzS1eSuARvfMmbnOSbrNUd8BXQp6YJ6uOGpxtba0jZtJ8T8CPb6RDLLdoUNGChshgfYCKcms/eq3ttYng3m7bulGn6YfD3MmxiVGF8gVsfcKZ2fNpmoQVaJLWlYEcfvikkux51Ka0HOQvJgN2GGVa/CcrDSrz/jTHl7qsk3cB14vG5avHPZj+gGdstEDN/j5ExlyM+RtO7O2xJAQw4vBH3TqFHmdt2XZCPeEjSlqoO+DrEBOi3KdlcU5xGn/ZsQXkfXsHEA19S37ODhc2SH3NpXSLwXJdNqtyWptvXKICBDR/XCzTcqUmv7uEiGUmvPqOOkwcpoOEKYJDos4KPceeekSrbLdqyOxpyyL8IuKL+71tiqrKn3As2Z02Lhy8joovdNkyHOB88D/wNXSo4ZhF3DlrSHg6qXPnHvEbwgYOpZBrtaP7WQZVcg41UuEMZGKzlHGUx5797iSMZQuDNJCwzDZozmRIRsLgvUrWHcT6lgf/JQRsQ2WxU4kpk/O9aaxSnfziQMBDvIRndu0S/k7ybNjC2vURQRNlcNaE0s9tN0pk6RQcID+3mhRc1Zz2BsOJ1zHmL6LF1fi1giqFWOZPl6PChY7UyJewbhv10bu4wR9XWEEUzWpCyjinLKZAU2R47/xf0W8obkBfuqb9+FDwj2sQD2zg6v9IDRkLxdLEXHTfia+RKdUaHa8BN/TtMvEdUZRZJHukvXn/RT8tWYg4GMtXWKaM5XzKEs/Y9zvlwNvHzvF1FvPiLVB79WV73PgBP9D6FjnmllqNYbz7GKguJRfgmdtriFuUOSfqeRdJXdG2QKYAug94laoJaTjD8TDU1HWmmhr3Vg/g0UjRsrEvQpR2ed17BunsgYMell5YpgRmxx62879NDwbGId7NK22NwAwArnxpRfmU81a0vJ+PDUQvSUB+9z1w0f6a6Bkt/n2bvG6fPUW63TeUmsJnkQPmXRFn1TF5gL9IE+N/lr7RRHjn6rcXVwb8SyUIPJKMkwmtSpq2roifNQVe4LU3yO+gq7v7bdiS76WuePkYgAh1Zdq+XV8epOe43ujgBU6si3yzxW3LYs3ZWmLeqtqRVCZNlZ6KaPmYw9+t/WkyeMVGNjfQmwb6p3ANaqlqyfDPbNDgj+PcASdS0uC5AOMEq8PiRG3hyDRcuyXbLG207ldQkLCYxlObTuGY/N7aQp6ncNOTF4txhH6QkksCDY7VTlT054/8xcqfWybyRwa5cA6bXay/nHUS7CkQ/eDtcVuTyp2nACkR3kEdMMqlNWhrLRNKtmBPfhDpmXVEY7oG6x6UL7IhGDuUlJ94uejXKIZCF+s0bMtHXoekdH105g9+h+0Y5YhRsJUHI+XTMPn4EZiKDhuLUbOZ/vcw55dI9VdS5tnuuseEJgS1kb+1TmrCJTCMWynU19+M4LAGXY1Z8ibyNx3oMrSd+JvAaPR91nPpwjpb60z55QyeJCQMknQtvIWcT9kkL7SSO/ge0XM042/t5nUtl7rOQIoS1ZonyRKHRzGdj/3/MwltfdxeXwBFqT7GHyljO19/OT/Zgse0LQXU/J1of6zEoAnUm8YGXD9NwX5hBIul4JX+S11oo3cV2DqS8sh7CdkSj/F2N6b0X881d8HW/LMJ/nWUu6jN4x9B2G5G+NYg6HJJUYBu5kQDBP6MXhbFTYlb1Uy+Vd0WP4UKNWxQxBoYmOJX9nGekEFMMcrEdx7KOQbYMxUsicPn4+NvkUmztqTf4rlzH28kDdkBprLF9nMKIZL8QDRxi2wnjipdkxzlv/GUSRKaNc6dXSGFvvBuDjaHnpfaRjUFuRv0PjPcrKi12J1Q7bBzuBSncvpW9dL+Uu5DEdioA/lIjsvcdrXue6AKy0gku294Z5c7WrUIkb0R9kNirKYDOGV+BOrNQcsfmiCCXggK7BYqq1bwhdPu879J+inp9MpAmcyg8BYf/+yrDu2hxqRsIxb74VMtTmrq35DY/kopqYVvSfUgJTyA+KC7NeeeVwKYF323IPYllMRB7fE7d7vT9is81S6itbxl2DcXEVFOrAq40QS93Ydgy7E15YSGjQHqdPkhbhSzeqyuaVaoqcAcwBKjhevnmnkkbwoJUzZ/p9U5LnsGo0TRQCiTOB1e17KcwE61HwaLaw7pgEomBVRzeNNwoXxJmLnB2W8qKebFRX7XgoirpDrzyl7oQiK4vHVe3Z5bks4WO4oAN+yVamYhmqdZKpLpw0iG8W9YPbhDFGCvQruTuQT0H5J6KuZ26n8FAdsbNsS5SFSv/Vjcu4aON4JZVpG87wh+de+iRXSsJeiTJh1FYPp8RBhHplEFqzITptD9OtS5wxbqMFI50cMsw/mfbXr4wgd3cFajo43AOZ9lKmLWc0DtjedqTAOQ1/BjcY6tcIp3LL5OCf8YMnXIFcMq0sSdcamLyloryXMyoXIGdYbKUJ2dQHiq5Z0a4c2IjzQOSSePn7pX/SPaPfHOWHFxeJxFanP1RrwvbYAUaft2s1rVC0R7u2kggEpUz5THzpNKaQp3mdl7gUabZCpOBYhwDRfO1F3pel8amsYiWx1Wl74APkb0NmelVe7DsfYKAD6wNgWrFsioMaXZt2bfKuWxVamMOu108P/9xOmIEbs0vqomR7/K5OKziBaONzm+51IGqwARwoeJnP2fi430ATPUGnzN3+hMivvdJViXHiU+yt13usehgLhnrtthTGazYgMrROv4sWVq/8DMMRPWOIJJ44LGGKkCBYcwpD+22wyV/Y1XsDnh1p37arezcMq4sAywBIR+/3GEqzeuWXpDXW5UF+6mrWUqcUM+c0bC2KVjkVJldMQzB7/pqieqBQMY694KyZkWzi/79dV/8v6ZnpfHCPR/EjMW94SFuUEbpNzNsjEB2W+NvlZ4m3QSHhJc1CiPH/Po3amN7R2v5gbEvQTMBm6Mm7wZwxmmX+p3BwwPUiQHrvKnyfEVSpo0aPv0Yvi6mIm0ijoXNdYU07K2y4/1/wfKJImZEWlrLgj6h6LCRe+jmqEI5TpTnsG4kOR+0bW1q2CBvSCackdUcqFa/KILfDCl2bi/TFCkvE3/+4PS8Pjj5ukvZxUvSsS6flJa5zvAXVJuQd0KGItANBZy4L8vlMV9EQFJ6pdax67YNRMI+JlIZ8bnv1gQPjDNOjE3pWm3t1Gqk9WoNWjrWq9cUpAeHtgs4qslCK6/X7ofPVMMXPx2ZBd7SSDRvb+QGvtU9BfjTI6itR2iW3DgWo+lTU+EBuEr0hZiUmGlI268A6JkK7Dm2cEe3IwXMDs1c0+Kp3xtx+BnJVE0YESy3dBQb4EYOjqvOxHqtueXLm+lLnUIPoNvQL8g/E6anhQWzGzrpHaWMM/izZF6miwUgyDdWIfxD0EweJwwdBdNv/cCI5YreaBJy10NEOUM8v72QZiOdM5ZDzhNBHi53fYhJFYF0H50HX2HWVZY/TqMpjtlD98+3dskeJ5Qii9oVY1w+XK97s/KtOvR0XOEWI6Kfm3nnqEciLtGB5oKUqw+YjzS6CJvcGTOe6MTUQ5FiO2vE/JbV3E0Ulay1Mhi3ZypLw8SfbynZ4pm+DUNqHvgkjzlrmopynIEBrpr17MdJska1HPrgo2cxHv8L9KdxMJUJNPDnRLxKMUposK/FZ3kO2BvYuWOuD2RzWMDN76IwpBzOvar8H0T/+XN7U0aDWhxq5PEaL/766szsC7o4bSnLxHLTOyqhjYk0SHYLoq88k995C0ql0vD7M6n1NIUVTn0FsVq58fap7Kr2ZuiCr/Da4dngBs0/ZuL3KBXHnlIKVYZip1fO8vRcS0BFuoUDWGS9zTxbdrGF/1nbmCQJoyNU0agpLx7dHBigY6xafUuv8aG5Usr+nHT/T2FcEE57WG+guH7iODG1FT/2jAcMBB4Yl/s/TEeF31T3czDxr1WJ7ckwQY+5tM1QCLmbRB2ZY/Yv3GwvhSIcY1ycsFZoI3evyn0sAZL1OqWeMz/uWoJynCyNSP0BSSmcVVwecgBqGBM2dIpeb3GacocLrJ6VVdSocdbAQluxNSNWUfi0jKpSV7yxlAmWXaGzQbRC9Z6SCwO1XRzsUs7XtEp/5ntLiIQFF8r0qjrjdIATTcUsgQG6rv97L67VSOws8CL7eeyy5saEHu8L0s5eATEDYlzJs+y65zwjAcRryCTc6AnKlMbhkaicicqhDaIAlaw1av/4j7BneiH8g0YCKZS3mjbgtK1TympQj49w7kwlkqTytj5/X7noyPo+FsjojO5yBq5QFCbaxdHQWUlwlhWLrgDaFqfdcxiLD37PEbIh1aVYz5e/1HTtkG5n+O5uP940tIT9xVTrXx+snt2yjBsHRjFxhJlLlyeDTQZ/ye99QdeWhnJr8cjVfic4/zk4FClLf4My9uK0CVeg/eLjiHBHPQnGjzGT3NJUeHcGhWGnNCOYUo67a4CspzuVKt+lU47VfzHC0/MX5SnRD9hOXMVoiVBgGg6aBeKtmXcniZDFAkO0AlsBPrAj2KZI3FONMVv0GFaXamSTGE+lb4dOSKHJlLYOcNLPrKsXOonTJitipH9aPOi0T1uyHldE5v25CjoLNKXwgl1ORtibnr4Rp8npwJRDYpuQTuVu6dACJWivCOcrRIOzkjqHCewj/ia0slvSXEZf1ORmOOC/KUtJONBRJ1V9cRC8LWb8LMBRIckG3CtV7HJeFxU+JcuwNt4BUG6rlqp3Uu4N4njZr3QXJpT5mROAQBFGc8CdUef6K8RnsxlyhATDaENksoejw8/kjtaJoTR159Hi2kvmFrozXUCgZ4j1AD4Nry2O45wFrnZ0JD3a6JV8uegUlYORLy5WIo8hUPQtH1E7kkbffR6SWhnOrqcg3vy7llNCAXvnxZaLmdYNPwYH8tt8IgLJCYYllQnAd/2s044Kt26ysT+LGxOdSPriQfLVP9u8Kk2cxfvxt65lyjRXwN/k2LYCBKLL63GiYomuODnfD2AAQT4mZ7m01MM0Sq0j66nhdpYb3J6dCd1SnuQgBmdrSUM75YycoN5g4Wby/jJRTIR3mbNhl5FER0APvrpphBLG96lXQX75rQGLOy3aGOIGtkM1PWOmUPSmFzPjYpuCNK9ajzZ+N+fLdygeoL5v96i2a6VEvSCdDMyYQhTf8T65JGbo3lJ/CnTUpucbk++MB7L2WfU1fYnDVxYlL4eaiRt3QqEFO05Dv3RkanT5aqfarQOWQ8FtZc9MNaNKObC05B0SsGXBU37KXaWiKjR52MoFaE6heVkNoFzJ+VptNjc47di6DEOyuj1b8nQgJSK8Pvq5FFBjP0O9cz3Yh4zZfNa45CflRyffVxyyBfQ5mEmvzQA2SI5wmtochnp2q0ijBeGSpInwmKlak+mplzYsMvIyzfWenInnA/j4Cac1dMB/fypRYMVWWRzJOP1bu9xQ5hI1+4XcwOUWSb98OMOjMMjmg5YFusOlqLMYKj69PaDt0DlOBH/xl3J6QIYBx/0be0fvnuPnD1DrEfJAP+wha2JHeJQJHZcAlOzIljEkEgW8ZQuQ45YIPxOg7fVlh701OBHK7Cwsnui09zO4Z6iYo/OVTU+BRe4Unia4R+iRbv+RNUKWcA2S4yHuZWY2CAb2IOcQ6leZc+h36+P9wWWKX1IYiO6vaIUAJ8+Ld6LAnNxeNsr0h4IFQo3TRf/Hr0vtPD9fF6LY8qplnfixlP5u4VJDdyanqm9NgnEA8wTQE8fNrGoKlKQeWspNDz5aU/IdhOVL4JDX/unkxWW7h2nuq5i4xV1x3EE9d0DZSg3WE93OBRYGup4u58xkyOGDO2Nci7EqvBSyfY7F5pa+35KSYWZ3vGMq7qTPfhmhu4iuNdq+zaxpXrWA3HJU7oe51qoVNR2qAmGpPlaicq7pgZY46EFKs6Og8cnCPsqgLI8G5rxHf2B1YO8N/cY05MgLIHJOxJjVU5Jt13PbkDnFXWSERbAgDxtFEuOVB9BY2TxL+L4tceJPGfVyGyIA+ONkqmYtf8/FR2zuczXIshbjAU40oRIBFQGHJIJmXpfj3oidaVW8YULWvkj1wN5ak8oAC78tAl7QrWc4rEpuTKNdIjTqS6zxXysWijsoygiNJGTrVzvrLGnCZUlF1650g8E8wUDrcFk/DGCXV0fv3vuDmOVOAR5WMmlB8VrkazO0SSGqrXhGlllmlsOmSpBal7nIfqdBKMTZtCFXK5RRkCwr2WsKT3dlCDLTZFOj+tPkGGgpdErn6gsU51e79LFtgx1aQPZYc7k9pijBpKmSLQ/zFAuq+1gBjOOuH8wTd7YTvMtbdMLSUAxe8SXvQfFR5rf7lbq5ULQvj8sKOhDcnSymHZ5s3yZDlMGTmDyQsowyZWKijImMdYqZEzaWnJCkn7fCbVDWAo/nyDCPjDlGblO4ELUWvS6NY4V5cprC4LImB1zZI33dDDFIwyybxkwM8/9brappO8EQuFlBDIv1wI+P+53fCWdqrlkIu5QTS0IogAAYgl5HsTNoqLuB6LSrtlYA3hVniwu87bUJ9RS+WSK+QbkYgEcKSbQQQWIBg3ZRdMkXsHXfm+nbLzCqwESNZH7gLkaNyUgvVGnTOG5z2PIGAAJ6nLvQiCxxppw3pSS+ERm+bVzDusmg8USF7VczaafnIU5Vgl1mAhV5qnB5JQMPL0WTOXl65k/PeKDrAMu3xDPvU+/puJZtc6yI+QL8CupF1U7KF03VPX8NxmwKLTHmSTiUKnt5HZcE5iFoeSjCPJ9Mlw2cpUu4SARQCMqjtYT3aaB7CjFmHAO/zpQlqKKQKPzI3/fS8qt8xsZp5FZMSsK7+f/J6RFs1EazEnCno6sMapECwccG5XW4PfOG0ri0oRYzYsLRNQgWxBVt82OMMGHdxM34Ca2azMn5qzn0IAEW99q/HnBKo0uqyTuQm+/xQr00OKY9BARZU0REUX5XuoTdp2H/Sojzlycoe1mwKESFi3qPMZo1y4lg8+GtYeGzOzY0UnlhjPi4/agDkuK4nP00pMCQyoBbc8Bw3sSGXqbOSj/2Xk24qEbUpDWFWz7mvfALWjxGczu5wNqAa5kW7ujwIoDNp142g3HCXT0CSsIOaem3xG2P1YKXzzb3xnJS2inYaSt6hjDn3evdsVGh5vlPNkLZQqt75cL65PFg/J2qu2KtJpQQuRmrFmCTsnsgOctYTt0o0sSY9lt47/YSuZ3G1cz7zlV5ZRoZSrfWMhHeVnUouxs/Jejqfeq6xPJLKLz6IZad012PjJQj/2sdd0JYxJxzUkoMVmP4JWKS0OqkZ1sVrw9MjWZnP3H9pphOec7rk2L6zJ/VJqfcEbELY+U8OnkkLju8EkmAxKMry52yRhU2IgoIZTGTL8nSfLpSJKMJj/vBVTU6bQ7MQmkJcqbae73gu/bwOj/Bc5vKetC/7izo5W2TmHlMgxNPMWBIe7BwPKrhlb0BjWkaQrXx9DQEZGpCfC16dyJ5vecTsP7ffegmWlxanH7sb79XabWz2+i6wZ1VTjdhSvz48Hj+a1izweHyw2FOIOvLYJKu19oOsvVD4CjcGX3JNvM1KoOn/MEHg63QaXXe5aRqERgxKU7pQtuiVvhDJ3G6gg0uuYfOO3CdtdyqW2q+YOaI93VQ+fhcr5Fklb32t+bjaZZuKnul49HOC4SRjZ69+8PGwULMX9bKKYYQG2aN1utyBuHEAh+hnZOmeTv4q9xlRlfphtiFwWM0QLZw1A2wBI4davYaoafX/TbadILqOBT8Ze9QJoXLGDXgrOM/wrQ4MzAM2qVS8h+cZcrhrBbJ34+JEp4xlC68Dkrd1ULYU0jC5zI9Ng7zfHRpk2Bt3hmxx8lAAy6jnJXYSPG9Cd2cstSmT5sUOMb/g5DPLcOotYXSZkRcXb4AZbhl3+2hg1a2DGg+0NABnXbEL1HtQzmCO/dQlYaQ0RM5NmRvYHOlMsRbsO/RZGaVKeNiWMfXqpxpHqs79WAWZ2UI0/K5eJxWm0va04Jy8QlGcCQDep9OdaM/hMM7DfNDevW4jIWsDDgOvN8E2HEDsUkS6RC/m0Jb/WI9/AsM3vJA0MeBCaMsqE7l5sr6Oeq3VwNal5A7MDYzVxAMJT7Jg4B/cBXm1p1BOTEHd3l7vaBBghmoAeagw9YmcC10qULM63cZlkbQ4erNQAidjP8l9dtxefA09/A+B9lxoReOLRXrL6/4j2JiDBiPwzG4jJu+ZlL2TPov0UlVKiNCm9MpFnWMW2SPCfCSyDAJ0wEl41t8WQLGkQHnkZjm9ZL4Dv8qFt6BnMBWUHnwXQLKakyCSm87RBdN6MDFoPkWUV3lmX8wpgtk9FuOH504NeCJQgtkagdmlGEfNZvOnIwqsRkU/cUm3XyuvJisIDv9uOLFHkxo3KmIgReYOJ4ggDiqMBREnadJKOoajOuLmD4nlms8gZ04fC+kbILesAAyvbzYUgoG39/liZHBxfFYZdbPmtRfUsCe1homVBC04DGbxPmKyrvqw7INxKlNXlY/WquA1O8Vvz3yfsfpR6GV3rr9qITuLkIfxt1W3oyhSvmgCvd1OUxcQ9fwNIxCMax93NmuuLHPLN0FtDN702rnchsaTNqrVPERytA7c3xc77JhaAt3Lhlhbv6eodo+DfIeZjhWIfyzUjalpeYRQRQFHROEVY9SHD1k2v9Bze4Bybh2lLPbitfC0givb9ylu6B+HHdARBX90eiZK12pctHOLO8etLJFjlbtURrI9izjbKJ7gua2loucKVAtEmfk+Mz//BPgMr4Yhv8907WiTHhlNuP/jnXaOu8WaCupU/EQ/Zj/VThwM6gFv2/J3f96zmIWNtPf65yup2Y4kkdNzy7cjEdzk+yxLtKb3GPv3l4OClsiTqHKQVE+PqTDGvZpO35l3ZGa6Rei/T6XoIDHp1soR4YFLiueRsgj3pVF+4QndEJh9A6kp/0bhcXbtJiP58/sX1t6QICnY8kfO8GWaa4AJ42Wy6aD723/+aN97RYsKNSkjbkezClIA6YIXOdF2ZhIQzto0CQbRIHg1UDIsFfnwnbxJZEukripeMnB540Fnn3Kvrj++06Qfl8SBX2g6vIN/3FHhUWVrIppC7NWwE3lswX6iooFMD0GTQdzYb9DjD1jY341071GQe5wwwb26h4HL1F/YKL5VASUYSkZOgXm4SX0+7hGIflLFfcNBmdqLfpJvAPlypRFPZ8npzSm5dv7GrxumLp29a7tV3dUv5xzupjw1F4VmPVczLSjA+29MkYgNww4VSOIaQ+ccJ+H1wMGDUCeW4EYQf+l7cXW3SX/PFdN3lEems+7L4l0ChNyAgSTSZPV6eZMDfaXAIp+Y7wcaI" title="Mekko Graphics Chart">
            <a:extLst>
              <a:ext uri="{FF2B5EF4-FFF2-40B4-BE49-F238E27FC236}">
                <a16:creationId xmlns:a16="http://schemas.microsoft.com/office/drawing/2014/main" id="{99FE2765-97D8-2EF7-89D9-6A4D4004E47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810095" y="1791494"/>
            <a:ext cx="4314933" cy="4528230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76" tIns="31776" rIns="31776" bIns="31776" rtlCol="0" anchor="ctr"/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btfpNotesBox255075">
            <a:extLst>
              <a:ext uri="{FF2B5EF4-FFF2-40B4-BE49-F238E27FC236}">
                <a16:creationId xmlns:a16="http://schemas.microsoft.com/office/drawing/2014/main" id="{6F40655E-3987-4973-9F3A-9DCB55607EBB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9529" y="644283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Meta Ads Library</a:t>
            </a:r>
          </a:p>
        </p:txBody>
      </p:sp>
      <p:grpSp>
        <p:nvGrpSpPr>
          <p:cNvPr id="49" name="btfpRunningAgenda2Level294467">
            <a:extLst>
              <a:ext uri="{FF2B5EF4-FFF2-40B4-BE49-F238E27FC236}">
                <a16:creationId xmlns:a16="http://schemas.microsoft.com/office/drawing/2014/main" id="{FA4B8A12-1F1C-13DC-6F35-41E6F3A395A9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944429"/>
            <a:ext cx="3737297" cy="257442"/>
            <a:chOff x="0" y="876300"/>
            <a:chExt cx="3737297" cy="257442"/>
          </a:xfrm>
        </p:grpSpPr>
        <p:sp>
          <p:nvSpPr>
            <p:cNvPr id="46" name="btfpRunningAgenda2LevelBarLeft294467">
              <a:extLst>
                <a:ext uri="{FF2B5EF4-FFF2-40B4-BE49-F238E27FC236}">
                  <a16:creationId xmlns:a16="http://schemas.microsoft.com/office/drawing/2014/main" id="{872B0EEB-7E48-EBCA-A267-A96C7B8A3688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Left294467">
              <a:extLst>
                <a:ext uri="{FF2B5EF4-FFF2-40B4-BE49-F238E27FC236}">
                  <a16:creationId xmlns:a16="http://schemas.microsoft.com/office/drawing/2014/main" id="{AE437997-2C0C-A560-0A84-19B0C38E4F76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Social media</a:t>
              </a:r>
            </a:p>
          </p:txBody>
        </p:sp>
        <p:sp>
          <p:nvSpPr>
            <p:cNvPr id="48" name="btfpRunningAgenda2LevelBarRight294467">
              <a:extLst>
                <a:ext uri="{FF2B5EF4-FFF2-40B4-BE49-F238E27FC236}">
                  <a16:creationId xmlns:a16="http://schemas.microsoft.com/office/drawing/2014/main" id="{80AC7A27-3A2C-F996-40B4-74B0D0158410}"/>
                </a:ext>
              </a:extLst>
            </p:cNvPr>
            <p:cNvSpPr/>
            <p:nvPr/>
          </p:nvSpPr>
          <p:spPr bwMode="gray">
            <a:xfrm>
              <a:off x="245788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btfpRunningAgenda2LevelTextRight294467">
              <a:extLst>
                <a:ext uri="{FF2B5EF4-FFF2-40B4-BE49-F238E27FC236}">
                  <a16:creationId xmlns:a16="http://schemas.microsoft.com/office/drawing/2014/main" id="{5BE6D39A-0301-3F5A-07BE-21717F797605}"/>
                </a:ext>
              </a:extLst>
            </p:cNvPr>
            <p:cNvSpPr txBox="1"/>
            <p:nvPr/>
          </p:nvSpPr>
          <p:spPr bwMode="gray">
            <a:xfrm>
              <a:off x="245788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ads</a:t>
              </a:r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8E0DC1CC-2487-8F71-C8BB-9025CC79E4C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25" y="945537"/>
            <a:ext cx="255948" cy="2552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87121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D5265EF2-BC36-FD61-2DF0-FA5DAEF5DB0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121317">
              <a:extLst>
                <a:ext uri="{FF2B5EF4-FFF2-40B4-BE49-F238E27FC236}">
                  <a16:creationId xmlns:a16="http://schemas.microsoft.com/office/drawing/2014/main" id="{8323D665-E507-F960-5BA0-1E56073744D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7" name="btfpColumnGapBlocker384710">
              <a:extLst>
                <a:ext uri="{FF2B5EF4-FFF2-40B4-BE49-F238E27FC236}">
                  <a16:creationId xmlns:a16="http://schemas.microsoft.com/office/drawing/2014/main" id="{DD79ADDB-60DC-E9BC-206C-A6C0CB571F0B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375340">
              <a:extLst>
                <a:ext uri="{FF2B5EF4-FFF2-40B4-BE49-F238E27FC236}">
                  <a16:creationId xmlns:a16="http://schemas.microsoft.com/office/drawing/2014/main" id="{D262A891-6904-4F7B-64E7-26507E1EEE7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961691">
              <a:extLst>
                <a:ext uri="{FF2B5EF4-FFF2-40B4-BE49-F238E27FC236}">
                  <a16:creationId xmlns:a16="http://schemas.microsoft.com/office/drawing/2014/main" id="{BE30DB3C-0DEA-B58F-E0B4-9F0FCE10032A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542599">
              <a:extLst>
                <a:ext uri="{FF2B5EF4-FFF2-40B4-BE49-F238E27FC236}">
                  <a16:creationId xmlns:a16="http://schemas.microsoft.com/office/drawing/2014/main" id="{0737EE92-5462-833F-C87B-12540B632237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175095">
              <a:extLst>
                <a:ext uri="{FF2B5EF4-FFF2-40B4-BE49-F238E27FC236}">
                  <a16:creationId xmlns:a16="http://schemas.microsoft.com/office/drawing/2014/main" id="{11FA66C8-A4AA-69A2-8F73-F3CA965D40DF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662322">
              <a:extLst>
                <a:ext uri="{FF2B5EF4-FFF2-40B4-BE49-F238E27FC236}">
                  <a16:creationId xmlns:a16="http://schemas.microsoft.com/office/drawing/2014/main" id="{92DDE530-3628-110C-4D6C-8B106D9F5BEA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340096">
              <a:extLst>
                <a:ext uri="{FF2B5EF4-FFF2-40B4-BE49-F238E27FC236}">
                  <a16:creationId xmlns:a16="http://schemas.microsoft.com/office/drawing/2014/main" id="{54D677A7-3B0B-D012-3033-F94C181B7E5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369569">
              <a:extLst>
                <a:ext uri="{FF2B5EF4-FFF2-40B4-BE49-F238E27FC236}">
                  <a16:creationId xmlns:a16="http://schemas.microsoft.com/office/drawing/2014/main" id="{E5AB500A-9A10-BAF4-57F3-54BC12FBF280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277283">
              <a:extLst>
                <a:ext uri="{FF2B5EF4-FFF2-40B4-BE49-F238E27FC236}">
                  <a16:creationId xmlns:a16="http://schemas.microsoft.com/office/drawing/2014/main" id="{6B0D098D-2518-2FAA-B8B8-8E4DFDE3984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349EB443-E391-1D15-B0C3-3E33C01A638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891171">
              <a:extLst>
                <a:ext uri="{FF2B5EF4-FFF2-40B4-BE49-F238E27FC236}">
                  <a16:creationId xmlns:a16="http://schemas.microsoft.com/office/drawing/2014/main" id="{1BA20FDC-7B0D-524C-10B9-2E888C8066B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6" name="btfpColumnGapBlocker776069">
              <a:extLst>
                <a:ext uri="{FF2B5EF4-FFF2-40B4-BE49-F238E27FC236}">
                  <a16:creationId xmlns:a16="http://schemas.microsoft.com/office/drawing/2014/main" id="{AF6FD3B9-0B8C-E9ED-D9B9-A6C1AD27E732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769115">
              <a:extLst>
                <a:ext uri="{FF2B5EF4-FFF2-40B4-BE49-F238E27FC236}">
                  <a16:creationId xmlns:a16="http://schemas.microsoft.com/office/drawing/2014/main" id="{9C05A027-BA2D-29A2-5E67-8742326B781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471565">
              <a:extLst>
                <a:ext uri="{FF2B5EF4-FFF2-40B4-BE49-F238E27FC236}">
                  <a16:creationId xmlns:a16="http://schemas.microsoft.com/office/drawing/2014/main" id="{09BAA24D-855F-AA4D-E3DE-F9640DC27B54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btfpColumnGapBlocker428073">
              <a:extLst>
                <a:ext uri="{FF2B5EF4-FFF2-40B4-BE49-F238E27FC236}">
                  <a16:creationId xmlns:a16="http://schemas.microsoft.com/office/drawing/2014/main" id="{251055E0-1A10-C9BD-678D-F8DD6F6D52E5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323546">
              <a:extLst>
                <a:ext uri="{FF2B5EF4-FFF2-40B4-BE49-F238E27FC236}">
                  <a16:creationId xmlns:a16="http://schemas.microsoft.com/office/drawing/2014/main" id="{71CD1218-EAD9-4E09-5862-1A055121E769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674401">
              <a:extLst>
                <a:ext uri="{FF2B5EF4-FFF2-40B4-BE49-F238E27FC236}">
                  <a16:creationId xmlns:a16="http://schemas.microsoft.com/office/drawing/2014/main" id="{195AB4E9-5C6E-15B5-67B8-D41B1B1EE0C9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595147">
              <a:extLst>
                <a:ext uri="{FF2B5EF4-FFF2-40B4-BE49-F238E27FC236}">
                  <a16:creationId xmlns:a16="http://schemas.microsoft.com/office/drawing/2014/main" id="{679C0B56-DD40-9150-1BE7-185FCDBEC3C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309573">
              <a:extLst>
                <a:ext uri="{FF2B5EF4-FFF2-40B4-BE49-F238E27FC236}">
                  <a16:creationId xmlns:a16="http://schemas.microsoft.com/office/drawing/2014/main" id="{70F5A56B-3894-1B97-E3C5-04B115601FAD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467603">
              <a:extLst>
                <a:ext uri="{FF2B5EF4-FFF2-40B4-BE49-F238E27FC236}">
                  <a16:creationId xmlns:a16="http://schemas.microsoft.com/office/drawing/2014/main" id="{96139C3A-794A-B4CF-C69F-39E86A8EF46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B3CA210-6BC3-4334-BB0B-46C8A39132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054" y="0"/>
            <a:ext cx="11522075" cy="876687"/>
          </a:xfrm>
        </p:spPr>
        <p:txBody>
          <a:bodyPr/>
          <a:lstStyle/>
          <a:p>
            <a:r>
              <a:rPr lang="en-GB" b="1" dirty="0"/>
              <a:t>Social media ads (FB/IG)</a:t>
            </a:r>
            <a:r>
              <a:rPr lang="en-GB" dirty="0"/>
              <a:t>: In the UK too, Hunza G doing more ads vs. competition</a:t>
            </a:r>
          </a:p>
        </p:txBody>
      </p:sp>
      <p:pic>
        <p:nvPicPr>
          <p:cNvPr id="34" name="btfpIconLines155624">
            <a:extLst>
              <a:ext uri="{FF2B5EF4-FFF2-40B4-BE49-F238E27FC236}">
                <a16:creationId xmlns:a16="http://schemas.microsoft.com/office/drawing/2014/main" id="{FF89EC04-53B9-4683-A4A3-7757D3A6C238}"/>
              </a:ext>
            </a:extLst>
          </p:cNvPr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800" y="1238178"/>
            <a:ext cx="391380" cy="391380"/>
          </a:xfrm>
          <a:prstGeom prst="rect">
            <a:avLst/>
          </a:prstGeom>
        </p:spPr>
      </p:pic>
      <p:grpSp>
        <p:nvGrpSpPr>
          <p:cNvPr id="86" name="btfpStatusSticker954153">
            <a:extLst>
              <a:ext uri="{FF2B5EF4-FFF2-40B4-BE49-F238E27FC236}">
                <a16:creationId xmlns:a16="http://schemas.microsoft.com/office/drawing/2014/main" id="{5BE5A60C-4F77-5B4D-3509-11993F4AECD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102664" y="955344"/>
            <a:ext cx="1759136" cy="235611"/>
            <a:chOff x="-3308535" y="876300"/>
            <a:chExt cx="1759136" cy="235611"/>
          </a:xfrm>
        </p:grpSpPr>
        <p:sp>
          <p:nvSpPr>
            <p:cNvPr id="84" name="btfpStatusStickerText954153">
              <a:extLst>
                <a:ext uri="{FF2B5EF4-FFF2-40B4-BE49-F238E27FC236}">
                  <a16:creationId xmlns:a16="http://schemas.microsoft.com/office/drawing/2014/main" id="{478A8F7B-E1C3-9B0E-5425-1C73DA0229B1}"/>
                </a:ext>
              </a:extLst>
            </p:cNvPr>
            <p:cNvSpPr txBox="1"/>
            <p:nvPr/>
          </p:nvSpPr>
          <p:spPr bwMode="gray">
            <a:xfrm>
              <a:off x="-3308535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85" name="btfpStatusStickerLine954153">
              <a:extLst>
                <a:ext uri="{FF2B5EF4-FFF2-40B4-BE49-F238E27FC236}">
                  <a16:creationId xmlns:a16="http://schemas.microsoft.com/office/drawing/2014/main" id="{9FC721EC-0733-3EBC-61EB-B1EF5126F42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30853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HeaderBox871977">
            <a:extLst>
              <a:ext uri="{FF2B5EF4-FFF2-40B4-BE49-F238E27FC236}">
                <a16:creationId xmlns:a16="http://schemas.microsoft.com/office/drawing/2014/main" id="{12D18823-4086-0D2F-4D6B-662D7D787A8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0" y="1349199"/>
            <a:ext cx="7458564" cy="309072"/>
            <a:chOff x="330200" y="1027537"/>
            <a:chExt cx="11531600" cy="309072"/>
          </a:xfrm>
        </p:grpSpPr>
        <p:sp>
          <p:nvSpPr>
            <p:cNvPr id="14" name="btfpColumnHeaderBoxText871977">
              <a:extLst>
                <a:ext uri="{FF2B5EF4-FFF2-40B4-BE49-F238E27FC236}">
                  <a16:creationId xmlns:a16="http://schemas.microsoft.com/office/drawing/2014/main" id="{763B2FC3-DE61-CD57-B7F2-9D01BEEB064B}"/>
                </a:ext>
              </a:extLst>
            </p:cNvPr>
            <p:cNvSpPr txBox="1"/>
            <p:nvPr/>
          </p:nvSpPr>
          <p:spPr bwMode="gray">
            <a:xfrm>
              <a:off x="330200" y="1027537"/>
              <a:ext cx="11531600" cy="30360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500" b="1" dirty="0"/>
                <a:t>Hunza G behind only Zimmermann; MC2 Saint Barth competes closely</a:t>
              </a:r>
            </a:p>
          </p:txBody>
        </p:sp>
        <p:cxnSp>
          <p:nvCxnSpPr>
            <p:cNvPr id="15" name="btfpColumnHeaderBoxLine871977">
              <a:extLst>
                <a:ext uri="{FF2B5EF4-FFF2-40B4-BE49-F238E27FC236}">
                  <a16:creationId xmlns:a16="http://schemas.microsoft.com/office/drawing/2014/main" id="{29AB51EE-2B9E-3B21-52B7-E955C8D3502F}"/>
                </a:ext>
              </a:extLst>
            </p:cNvPr>
            <p:cNvCxnSpPr/>
            <p:nvPr/>
          </p:nvCxnSpPr>
          <p:spPr bwMode="gray">
            <a:xfrm>
              <a:off x="330200" y="133660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ColumnHeaderBox871977">
            <a:extLst>
              <a:ext uri="{FF2B5EF4-FFF2-40B4-BE49-F238E27FC236}">
                <a16:creationId xmlns:a16="http://schemas.microsoft.com/office/drawing/2014/main" id="{EF672F4F-C0D4-A91C-050B-25C1B65E107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524333" y="1339803"/>
            <a:ext cx="3296847" cy="315913"/>
            <a:chOff x="330200" y="1020696"/>
            <a:chExt cx="11531600" cy="315913"/>
          </a:xfrm>
        </p:grpSpPr>
        <p:sp>
          <p:nvSpPr>
            <p:cNvPr id="24" name="btfpColumnHeaderBoxText871977">
              <a:extLst>
                <a:ext uri="{FF2B5EF4-FFF2-40B4-BE49-F238E27FC236}">
                  <a16:creationId xmlns:a16="http://schemas.microsoft.com/office/drawing/2014/main" id="{3B006844-8359-0FBE-C8C7-D1365C3BCD3C}"/>
                </a:ext>
              </a:extLst>
            </p:cNvPr>
            <p:cNvSpPr txBox="1"/>
            <p:nvPr/>
          </p:nvSpPr>
          <p:spPr bwMode="gray">
            <a:xfrm>
              <a:off x="330200" y="1020696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b="1"/>
                <a:t>Commentary</a:t>
              </a:r>
            </a:p>
          </p:txBody>
        </p:sp>
        <p:cxnSp>
          <p:nvCxnSpPr>
            <p:cNvPr id="25" name="btfpColumnHeaderBoxLine871977">
              <a:extLst>
                <a:ext uri="{FF2B5EF4-FFF2-40B4-BE49-F238E27FC236}">
                  <a16:creationId xmlns:a16="http://schemas.microsoft.com/office/drawing/2014/main" id="{4BF31364-BE6D-0D38-01F7-6E8C4972A802}"/>
                </a:ext>
              </a:extLst>
            </p:cNvPr>
            <p:cNvCxnSpPr/>
            <p:nvPr/>
          </p:nvCxnSpPr>
          <p:spPr bwMode="gray">
            <a:xfrm>
              <a:off x="330200" y="133660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qFHiboAhnyFYO40OgDW9etHQ3Sy44XTVMcMC1tL7LmNH8lNkbB1Jw9nduKjj94yZw/Me2WqwClzThRPxzPfb7U0Ezc6ymFC3HIdD5tkg+WW9oEick+8eg79QfTstLkDjf+LQpZOqkzUiu94IsCbVXr5OpmnuG2y/lFonp6vSXkY7I9Qlrq6INlq4OY8/f79GtyG69vBipcHf6bM78PGESgxtO49+cRo/A70kPl70xje2NpZOIjYoWDaNFHwN5TcsPiKMFKJ0OfKxnS1LLuRDXZ1pyDDlSiuGe2MYW6FQxOC9BoBd0Do49tYP1jR6YW59BiizqSwHo1uWazVrfLHNVVkHlLkOhxXOCa8VcDWb4bauvqzDvnxlgj5Sy4l8/AIY1Un2biH/hGZBUiTHw8pouPHFJns8BSirYOOsPDIz2//8MISWSWfizLH/LxWPVzB2MFFK49F40xpVVgYxBFKjcZVRNUPODPYJQTvTPXYF8GVMvVGaKYbQ2ZcdPaxYkusILbwCAuViJpVXWBtZbN8F4BfMOre3wFRmE6WNdIZ2RnHAVYF/sjoueUh+lVSM7fdwkYhVkMkleLu8drikyvHRbIn3ecaaXGM126n72I1CwEzcSv8cVlDE3ycKI0+JEb1Zs2g9iyptP64IJzVvlQchYU7mE+zJPxpy8WVIOgofwXHO6gKEnAPgo2NDf3t2ImdHC653ZE4LJ9KK6Qbq3NZgP3YjPGfvqTbl4ydiBy+o9ugNJF+6mskjJTBDk7zHI2OaU1LW13G+uoAfEWqM1OnG75Xh8wcXwqnYJ3TnK6ZMiJw9mcpRxHJMnEWwna5WcBjrESWhA1EiVEw3qAKyBT/pQJCDFlDqSwhevUW2xRx5Hb7WuMOjBy+ZGCR/reQF4Enw88dkWh39kJMUUskX3IAEWhZbSziEsYxs/Qcu5EI28rYozbPVzwi0TZteajXDD/Py36kXAKtnWTElDHbLw0DJOjShLB4UgSILfWy2vogfVg3b+K2/0E/+6WkOB8NxOgY+fxunwsNpHV/4+GPuMr1/JhepGv/B4xuy7ENgBFPwCc4BohoMy44ssU66Ph0TnwM5v/JRboBxdOr5J3DE5ucU5qSws5kg5fY+34ggX/mSeqLuoYZAuhd/IVO6H98sZQAW9gc/KhMi6Gr9J/WoqVoGOgwE92VnnLN141OvovA/9XzvXMtQWG5I96sYy7pRDBcBJKDfNUr6nxt4G6c3ynDA1aplH9UBGTE+5lCKf7Yq7wJr5ykH/SvI3709Tt74IhVcHC/b+/DvkaDPCyz6FxApSAedcrvSLh0O/sudOS8YfkyW2UsbDl3ucjn6vJDT6vblqzp/S8UJmb2bSMWKlTmvZiBVVRrha5Loe0uj+4F6ZhMHRmdi8WtXmpU3Jd2Z/3GVfr1kxIJ6mE6X2TadSlhvtbMTqrkeh9uTK85tyfapWdspXdBmZKf4vub4QxqxwYIXHkjEORt0uKC9RT/iMhUtjG0tq4GRUo0UlFZWGSjLh++Gic/JyxlCFwpMQlSGCeZfTFaza8JADeiazYqSG7w1UEVFCf4Va3Jegn2Do2LjK+pX+5Z+OtThbWI9rNuRdbwuWjHsP5XUxUafLeds2zvyT5k3Z2mA4XTMfmY4ymbteJdu6rSYJoaShfcf4VY0ub84iQSASKROuVwUK0H3UgzapNv6n6QFNCOubNjz+oVilynixO58MFhV9tGldWsncGmqjv8WM+bJONWhpzGCKeN46zu9k99XruYBVGJOo2L31O9vLksG46WU4gKLUbhrbqypM1vdQxSxQ7hjusZmwqCkHqxuvr3p3FFgibyVszP3N5fvHqHyp3Ud2rjI2CQAGDfXidct9q2JQcXRKNjxWylHWbjzygxPkD2AFzzXoZToLieskaKyBOPJcYuXjFeFoZkvvdcUs+6I6YBtOBgG254XAL7M//zEtwbd84qq7j7GRrQJtyqxx93il6/nWj+wBeYx/blm6eonSHH8IPP1ZoV/Bx02R1kvrywIC85elFqL98/KlXP6dZ4EZP4ghQiEzuMGaDqSFkjDjlAu4lD1XYKXU0ZBc7TL6EyIHX4mPR2cCdCzRbNue2N660LAYnrNjMawDUGX2m5TWA0HL9iKWvoSqHP0BpyRcTPPUkQ0XfnG6mYA/+RZDfzLEqxtmN97/I08MIglq2MQLtzjnvkZJfSHjF/MCumRx377nhAc61EJtY1k3EP+Wc+oi3WyeJd66WEzvyuCRAQR8LGrVNJnpgoIQOcDDtRo79sASODHHxgM2bja8sfBK7odIaYleomq0r4qeF1FacePivu7vyp22iYh2fXGXdYF3XNz8xyIc4Q5nbbpb3f32KbJvoOAG31bVZKG1WhtIBBsy/vIip8oTrNSDbUHGndepRTksYGiH9b1ZS3+sh/MhvmpNAOletEmjPM6saoTDtIUiL7LXaDbkEhn1AFUNLfyvW+tZofLNnbiajX2lA7ocQFGAIN1sRachWxkSy1Y8kkkBlUguH6SDYybccJ5VqRMnz6I1kreMlhTyNdRaVerxGpv+ba2QQ8zpj6I17IwFddoVxb9E8yiAqXoBuTHbCA5UuKpV1AD2I4rI3FRtECEDOX0WNJHYvyfps//N8VzhpOw3eMLG47lVawtbSbGe0yjByJVZy+NAlBW0F/PSi9lf9FugC5+myNu1wnpbD27Xl+WrZiSkP6uAwob+7m2M6JrUFmSNObhBBKJi5+921e5xFgka3CfEVQop5At7jdc56Aa3sr9Pry/x3PDxN0RYElJGSRaSU53E7EhtX6muM+1SfUpL42aSi5UhWPyjhioyVv1oBYDw2EB0tuYU+WHskXgs6gP6mnCKWfAHTVX3l5qyYMWlw/IAz8BCiXFheCdxVoe3fRwEfdu0bBzyYrpSkZ+m4VyqYPXEAGNCRQRrbINBO9URG4AM3q6w58L13hY8EQGmgIHBUdNi5AuXnTVLs43Dmx+nJiC5GoQi1paxvUO0I+iVksLxee4H3fpcN5Wi+OH/9zF/+rxpJQv7sPw4qnBcG5UI/V31UDvROTYFNkqXZiaA7WtBSTOfoX0x/eNThsIcFOAbI1dPGZKzlh0mnBBcn0HPX4K21V6hGXSn1FxzebXu9xcNZOLKTKaDDnoGwcRCYMEc2AuuKNjcIkU95XJaVRWweJQam+D6B9cbZi2EdNaVc+9i+CQp4hLriFe1RqSJn9taycS8Qv0dkmiQbMH40djVVGqCxOQSqaEpPR9ANSg0bvfs5RbSwzawEVxl+EK+y0QnzhtYYbbKVwX6fhpoArHrg86bLmH6N+tu8D57V/9PsHXONJtLitrqPUN7vOtTdJjutyBjGxdJApRkJOBjebhXLBEzxzZ9WZQx9EmI8pAEOWijwQQbWCTC6OhiSDTKm4qdNKPeE7qebM97mN/a9wQhG2I8RYFtUV6HAeouqvHr/0YNx5JLNhBinUADTwVi4osK4saIKTFjs60qMHZ8xtwbnzoGRvJs8zan6bkhE4nilodGdcfndrBzo8h23LEuVbVyt8jjMB/ljboMnZQT+Ehw28psjnuVMMSLZeUVbb9V0ROhiygjIOdhazWEr1vlRrEkTbxq2J/tHyF45yBz+Hy/3m7QnvLVZ5WGzaGvx4Yb2Q31JXDL3Nfvf9vS+9Q4AL+OtQ45pjW6ZI7p2khFumPUdL6+n2eQ6eGdRapDJPCsgNBTapxWNgqp5pj36Rl1yeWOEE/aYPdZO6YwHXATUBRLJJ+11W4uxCCrSL8VmT54G1uSevM6jJ674NGII/N30re6w9+dKmeDPh2fGhgWtDm3rZRQbPj7Yo6IbBUgWkSpTqZv5e6cJVa3cZIABKaV/OgR84/R4aR5M0GPO1qRbNYGKZj6WRpovOgLVkzoq6c+UPgz0vaXBr8PISx6I9dHuXdVKaDqgFCXbBjT9NvFYdE1dFnitZ8L21sGrIIqzL+pm1S86X7cn2HjtSHMlPlPiT5ljkBHG5nx2HEgY1ARxdYVxI9xya6NA9rhR+cRO5vFFUrC42Vms1E7b7o4VOwCmQsv0sIUtLpuaTQxX7nWSWB6vSAXHjZJd1+GxYXL5Cc2T9yQqJ9nfZ/2pm2XtniUH/PURTMgHtcI7qY2JXo2S00kR4e9dtzjeeQ4AfFH0kl3m1Iu6AIhEWaJtQWFyBoc+/4JizIL8yo78ppU8hq9s/RE1nJ+FButpb0smMkl8Mk3TaLEdgFAaVTfRXdSSjDI7sgfash/NfBByxXyizMRD6K3UHsEJMae9GajhunJjQPOIZFfuliAdrDt5u9/TJzURQz4L3iDJ2Kbe/ZDoY2cfmdIdSZHHr7iTXGpq2Ui+PMqk1PJCtVCKwyBDwbr2g/I1efqnlNRvy3JmzYCPCNamPRZQ02sieh3Hp8FUrKoEVQvOC7R8HWRTkPAMeXMeDg3hcEPN8KbJ17Vc7miislS0cStXD58ePCaT5ZaSSS564XKeC6//a8WcUxetlezM2EP93B6qq9Mt4sMHITMhD+dIE/QmdTvn/vPR+UPoFKa4+juZFpJAmw519iybL3omNKFAk66/Mjyknp+jQ8PvFbd/5d/l7nw36/W5tHlU8NXA08bPqOQaa0nA7gmvpGTGkEXQDVLCIzQKcJPkF3aO5zpT8upx3s9W5fZVwsbMHYwiESqQOtXqQNhCuutZiZEV2XnBVRV0wCRvwaWut272RKez4XuwDvXBmJXmG4aRFb3cm8v+a091kGxftkMMTfg7gZEei6U7nq18khQD/wV9Z2JtHvP0wQRaDhr8JoyE3EZycrUZuKwGvxl/BjQxiYQj+0hTKRUFvrndDr39NZTCsTQ0kbBxsnwBzMLdTYrJZQNSR0Ajm0lsv4ihCsrra+9BCQDdjpgLq7nZei21CWSH+EV3/NZk/2QwzJ6nJcsQTorateIPtbssuMh5Yrag+f7czsZDK6tptUcbryfsCHNPNGQYT+tT8P7hRegd9cnWnys1ZC+DS6ZqIBRLlMnclZ3rGJdx0AwIa9fYtmkGwRS+ff9BGFSGCwVJp3u1Q9wwdp502o5rCBq5K5f39AWz29K6J5GIoS/RuzdKnrY2LQKkjo1tfB0FJfzKScSjz6MTdDrZEeFHxV9rj5ufWNpdB+oEP3hu9a1Lyk+Q9YFhcuzY7S9k27NvTlOb5mFkxhahf1hKkvb7IrYP3cLpCnmn5vbORwNMs/ZZqMh/NOFpzNIDxrAnV0h584hK0lt1zesKHjaPVCc75Ze281tOtBYYqgUVYp6f17orjJ3WEylXEtW0/viarwvxSf6Vj43/C6aUPOY7PXWgFsBtL2d1bJhVbF3pcwYuuHGOmkajuqLAS1KVeHuhS7qEEy5jd38ekDDWn+EqMOB9a3+4ZRYgf+3eBebUD3nyWojyUGBzPHV2zmxBatlopYku1qVdX10/n7qMZdkf6G3Cc97RqenkwkzEFvOPejoAs/S22IsTTFf2UFdMxdDeinIZ0uTDjWndiX+8tBJUaIYtUVI7iGGwpHcSE1IftrgO7d+w2XHdV47Rn3MkG7UVd2GDFpoMd0irUBem75Or8I5+WXntxO1/JUtUaGTV5r6NHnnExrFmLkP9Obs19TfmOoJz+UbWs2j+mW10yfkS3u76Ygp02/eDIACB9VhNrRK2JOP4T6oFp1aOdeUH3zGKLMEobMaMjnZnMSNHXKY913dBQNXa1ge1kIXRhWefb3Yqr0cZqBMgWOa7tAy4Q1nHO2h7e1BP2zKc49ClVsFr+vi/tGnW/NQFlG/468ooWLngxV1hOQU5/4yMC/VQ/4IG4ZeGOvdUZNQjOQr+W62qLj9Bvcl/qBRzKNPqGgGgpS4Bz3jmBv47G0lFg2kbgJvq2UXw6msjqzq//fIGoAfxXZroOG9tkBCCO8C+OA2UdKAZLnKN6Qq2RLiNfgiteWH5x8y6GJk8iNRslbMMMObdcvHQLU685pTCLU3jd5zUbcyHVF1PpYdtKbYdKMClVeNxMD1rJdW6t/YmNyHe1sAoK7FdIFRSHWO78Ewaat36taJ7itNNbcK0dD1tcaDJk8y1aH+GotnlsBO2zcBVVGT3swYXhvUjQTu23n8wYi1RDP8pGyimzRbXRzMKSzjVeUFK2/Be/lNcl+u69XfyuneZik87VUA4nsUCr0VFGiGP45LyWbFKgcrSrttn61KTVAYroWM0odHRZVP84IFmA9mSCVqorJNfagsRmLmtfLyGHgpZFGTKMLD+UkkIOpVF3ldojNRSxJEMM16xPLtroKbKb9jMqYXcAPuF7jQHB89YSaYdVKh3fZRdX6iD3qRQSoMLtqGaNi6QVTlKot/KbN37wY9EOsihFpdAFhWQEyX48k68MfnWbYuhX0owgzFn90su6Mmc7enU2I1+FIIDFHzuAMrc8X88mP7oc6EZ80Bq5jpI9miOcMy0IS+DFinHkOWNdKRX9zZ7t3nB6k7+UHeutbIvbCEZ9wusjkvu3+bIUm4mNxBuLdmpOpBZgEXQdF/Nu7C/gMLeCVqIzLaZiPQCeErcRNPpcvHgkSmhiirz9Yy+/y2JXfzX4A20neCLUf53x92iyeVN4H8GTuddN7gTFnuF06tz7yWSrRykzAzUW5mtgSGNp6ugEm4LaUZx5H2501hz18pA4RbKWxKNtpmyE2LRjzkk2EFzISNZGpXYIDU0UwQUZo4jh4wik1ur+KcPTWj+l4PWetEW5AXdvm9rm14htGZasARavG6mTjglStBkex6vh62bTYhdFn/KxVVwMOUfPQAvTRtT32DJCn/pBMXRXxmNyELxWGpVdqh2Rl/CqKJW7huiSAZvUErrJvbL5+hrAhb5oLrbjSF8c/DFLIaUPGwaWHTYiz/wABAUGFz3k06omqhpLbD0/fuzb3+KHmd1dB/0UKJFKAE2H9D6AF7lfGeiIiDP4Wufh3qtf/gV6B/QA/jErTaAED9S2BqeomHnMgcdvuglshIEjku/6Axi3+GhPfmAhV1ofOe56o9NZmoMmoCNvPn7DelXirob4GE7c4DgftMsD0R35wH+dlHErUl/nbFhlzwk/gv/JTPTZgyjRaH1WZExQfeNkFCQrO1fevi0fzoiKilUD54rM4EugQBsVJoV551+yb/KCXXUDzQIJ+f07rH23IsvwyBvfKS53qKHDT5NhBpPt3AHgslONpxH0Xb3wc3nZviwudPtX8abZU0pBDqHC8utIwQUfyIgeZNrl5Omda7SWRIgpH/BlyH1Fo5WJdaL2HLxZWNQnxal+u9Mhdvg86Wz+RvbgofLF5zdtVW28DiZG6bLQpA9eIyHXCH3yiv9s5QvCl0kog8Kz7je9XsBDkRj03JY11ih/hy46ny9NLkry1bRVrDYX1QVLG6ffr1rE4gOg7sskVoE02QftZRC5yALoWibvaltRHoLl2TLn2MHnjs0dU9XVxohk6ilcekBkihzYVl3H5UxiUUp6yR2Mj/AZZtooPK2/tvXogIkGMNUrJ1B6ugd8G3l/RFjtaf4wKaM/5S2a6z0qKn8ksSWiJIdynGkiiVNjSyEr2T+JBtlDALFBryrswCDNVhX5pMTCPNw/+Fcxk5VOechb1bVaSsymuvQtQyEAuuEzNyGIumEohxqbcm4xbyNLJas5kZIINsETp4BerJE5N1dpT48oL+PgvmjdI13LY8JqnmTDDpVYIcmEOcH+RrDBrCKhg9qjF80kQTHmG1C2pNKdeftzHJzuhJhFCjRh2RJeglIyj9TpzZ8NCVp7zHjZ9dBIe3hrSo34Uw2JaOhTJ0HtFGJEAr+tk4NS0DqkTe3XNMCpTvu7jTOsApP/K02/CP4tMp1lHwr9GaUInJry1Y62SJhKaNK2cMMpTf6BB7uv6zL5O1NnCjyL98K/7jf/w0EQUr+rMByjnOiFK2I95ymVVebS8mH4YXJyLFRXfnDX1btcyJTibgZA9rmotpNbrnMKNTh1antjpwS3rBlGlnNKMH7MxWrDlFFUU+TpmJLIyQeQAVP7Rx9KvGLihxOeriQbqXRRCn547PNlSHzH+EUjBlQMoCEfKCNEvf4lVlBY73rIfkzkEoNrZxD1+myliM0CDtBXEw57UKfMSblB1y5j7U/SrpGeltWkqbn2Cm03gsmahM2s/p1YQ4a+OoRVDcKThykiA16hLQQpVPaOKVKxUauUukGJDITz3rLsuVoe8YFbA5CG2hg6iAVABoOztb0ZFJqPfrdeyTNWRb5Y6GXOxJMIHFzAMXE3cUx8SmeJ4WAq77yKL+bMdu17Xf4FBK8IWydXN/7yiVEg9rFN9myQt/Q0CeysrjlNjlZ6h9VcgTh/6wHI3sTLOHDoZsT02E3ovMBM6xA2Jk/UF1/Rr82Ape/BwZdHZFZdPNQhCaGMktT/fB2ShbpAMsSbOKX1eLxqzuv5i6EGjBxdz5gzUK/QG7JR/Aoxhe43y5CL1oMqoBSMgXcod893rv6GT6UpESb45cq657IIeRo8UQik7Z7Ze//1kQOVQAj3dWX8ioOGfNaPlYOhMd0x7etluBraueMEOQvsehWTy6E3n5n7wLCJejs9phu+srVM31Tti9MY7u4gpFJlC5/cLWVOimzBWmW5oAQmKzPEYhuln955Mk044hIcJQvXyAIaA02eB21wHLCtNf1DsYx0vamHERPW+JJrNPBN+CBXBxRWceUBKZT+1fxcP8lWexNHf9ln46jtlv3nc7/YwUEUz2AWxfK6AUdsmSWvineGEwNWO8qwBuXVNAsDcv9AS2gFujzuzU0QFMho5ENUw3NJiZU3EF/4Mr8k0I8dWniuwXIMVKmElEyJJXIkMJ9Z0w5EOOVeZqTrPGp22jOsKzu/eqT8ltKf9TW8eiIXKGoKPG1lN7NkhnqohIwLX9eejybryLhgSMaQHM3z2UYALixpAciKc3P0v+DsKf8OHuMKOQ2U6nmYvam5V/GeDiXL6Jdv6g0e+EwFz2gFy15EU+9bOE7l7vGt/kn4C8PPhmMlY38CxbgA7JhTt3SbAfYnhGaI4KQ4upY86PnHspGpuHOTKo3rcl2QSBBBeCTlzrBbj6r5XrIDacVlIyDOle+VwUCN7+2wSuhuVZAPG/8biYh/BJ1+E+iYf6tK/xxyXUMHHASsQWMWaW/IA5kmws4b+piN94DpBza1wVrRbKxKMvzkt8uzNDH+jlhfqLZOB3wW6oy5PYwLmSgT+eDS6oPN7H20QcOnpky/9wzTJMTNfEkCB6BnoZ6KlY2u7+/MJ6TkpdEKShSFsUmPhAfRUqzvme/6SAHP59oICi/blmCzQtKCd9p8R5sGj4zjoMFL3UUHe0X50zyOL52fLW9HdYrMxAu9pIvPYI1rG0HiynFhCnbXAW52zZt+s62C7f3JH/3aUrlHCoAxNMDjKzhEUmcOmgybFmvkQGpLvtoeItF+uD04qX7BoxX8KEYt9lFgSe32U7r1vdDW5vmI3nBd1N2EwwuN8idhNrRsilbgEcGCJIBpC1/mXJfu0UXtCGGBLMhmqMcvVaw+EHQKUgyRU5SLYdknjoLghAB77laktodhh5Fo41kBcMlC2A+l3osTJOgO/rfWXXS3jhcpMVQf8D2BvuTqHqHvQhOFiPGAXeuSgFGs8Oz4KMdSPcpO1Ydh8+TAK4PXh8c11PFpnHD8+p0NVd4JYINvyFbrfz8reWSTyPAXGo9Eu+1HVI6DxfBX+LQLvvDDzvlQ4y99Q1qe9fmENUELA6ciqolN+TDnBD7/sMAeKRY7Qx+67hH5Zets2qwbisMGIzBNE3f6tw+cIPejTVRUwv8auM7SGDKMfc9Z6UkISN2sn5QnS+SU7dTbUKcJMttCyMCsFEE+W3A9fkebn8yis+8+3iejBIzMF6t7Qv6XhaB385OuhnT2cEN5NXqWmfRmPxvJIQ3q3CZF26ANISE6UpCyuftXOuZuHFKgycTjdPkheWQPkm7YnVYJw9NQMze7hzMQEnG6LIfoPyAB1SSL1um/QTSvdGTg2MJGa9EpChfNEjUIN/TqjOI1FgU3ltHtoHoSu8K8vbJqXWwSHp3jmLbTIGmdmVpAllsaneBOBW82yYtttvaxsQzteeBSjYHbBzj7ElrEFitBNlq5GpuJNBtBezQkkAW37kxdkytl5MKU7t2j55auC09qfKlD+Dro10E8o7b8gMW5aVL7WL28R60b9DK0Nq6AvlOcMiD+xwGkvZzasCd/ilFZo8pJLubnFdKt+Wf1MXDTC8+cDN/Us6CupcRq5xfYsbtbpwvY0HI7LunzbGx04aV0LX74u8TzIgLPmRm2bisgeQur1f6gS4AMDTITDpLvPwzugNdfsob96O6tEn7m4lT7wahq+WJyoKzQK++WTvbZvsztznJ2k+iwLQ6MzzOuNVLLQUc7cZTctvv34wJYTa/br5GyprIf/DjxlpVmh6qDeGHQ4818OTydQRKXzHiRhxf0Qc0NJVmKdK4p7XIngSzVKGrEmXzE0NAFGE66gSufRqQPuGc0HaBLVwUUEJywJ654p0TTIvjBm1oFvr9qf/ms03F34tqchmauVFU7HjIZh9tPjztL3qyv7EDpuoPjWUj78Te0a2J8GDFfYSDM2URQdRgzJJ8nb9T+tpVpXTHy5LDdJ/uRcOe9t7TmmBMDZMecVhYdUTDFb5VVnass6BbvuQkSclCPq+O0mmoKMnAwC0u2C50Z4cHKz6hkdeppBOxdLsG27IZEWw9Cdn3JDGkvX5rPIhTzHrXyIAxlx/GqiMXThesNsnTjNj7e6AqyMfr22HNjSuQHGHqqimRmRl8D1kiiy+fntjYYgokqst7RLjnGMEVvSdkr/rzXQRY19xz1snrluLtLR4i9sd5GLlxW1fC7ym1jiG/wz92edIWbFi9LgBh7U/dRdv2XKTykrCbFYhVzQFzaDSGM17sqv+5lAJ1IUs3fVDfShi1kdpCHqhMNYF1MSlf86M+h7LFMpUcHiNb+9HNs3DhJk+HPGqTLu4heJVlFdAYaBXgZDVUphiM9/wPi43zkF4FOilnvBeyJB9p0hnJKUW7Je+QzEE8DwifEkl+NpYvmWl5lcGTxBemah+igeE+ssAtttRAE7VBZoOlpbY7YSLQ9gR6a++smZnZGCRLlttT+odLXGiMlx4uGelH/PpR52sVOMIzTXHsOFZdHplbT/S6b4JCIcJ6cKJZ9+bbX14TtTQ/Dbw4J2O7NLYFxnTl5XUu2JI3MlI8s/ag6DIQhli5eKAQuhDcCyvFFgWVhv7UXxbbeBrNRVW1T9XkmpkRMdEO5E40BAq4+3Z0AzZ1PYQT/vJ+kg2vKfuZag0nYkDQXngBgF0xxcF3BBDchq22lVM/qh965OwAvsAqf0ajOQ/kakB0KCxblahLltOyJrG8scwSKPHaMqveX7lajR5WlHRizw3VRn+JvDtXdGmd4ssOkPmCAlE/dqrOSQ96lGToARW5wjF7Xspp5w/qpFZCABhcGWwPvcTMHJMlcYN8S5a1Cq98q1eGGQ5VZWsjRCQyEnTMMoDs9L6ULNfp7KH2hqCF0CTR4WNzrES28OgobiG8/t1OPRSKEibrYayBQkv/heyuhFjhgva9VMcGnX8s/rwrwKh6iLo6j5BBKPpbSYwkw1zQD+CyBzdEHQeDlUYR6/+MCxn+1XWiP+4V+q+PgDML7v/XdGgV+st+Hi624Mke66/3CKLfkcZs5BJ6tKqXuQ37I1EFSjRhd4dQKVnW+9Lbf1n260kDW7mMHh4b+32v3XrxPsVBjbIGnCTpHzbqXi7V66+9egTw7iZo5TFIkN1d5UxngcnRvUWd7dDOEZq+Yj0DyWhZxiRjV8QAWsO8gzPLzDaJD3nzeB9490+GM40U43MaWEAeWe5xinhAJRCGVO5dq2kHnHsF6izeitAAymEiJg825Mwsv/93tR5DY2BQ22EegaZgHEwZHT/eJH6vY7sxNgPA+n21phiz3rVR0prWEkUcuZX6hGbaz6PQ99oKb64R9T2mp7I8pyXegbWQYAl/UH/CynEQ5Jk7DRB66arYkinOc21eCXTs7NSQDfWHrFljkdOQvlUbmdHDN8qzFmnlpJCz+wCmJXPYTFqP/AA9TgSbzHVb+S8fJV/S4aDaEhB65/KSVaOqr0zk4p6aJ5YBJtEkN8bbDVnMN7YrY4cdzH7ubc4gSys5pFutpd1Bd9Nm6e29tq+ZaTUq6/QUYOUurb1tXLWpkwRqhSeYKFmDStKzSb+nXh4Dqd1czLPnmnoMJFhN9zbsmW4afU0ACEhKieAZYpIK5REsK2Mk6vhle6jdn0QteGfTtRZo18G6D0lPJzU+uo5pcSPH8mpgRVejIibut8IoykLUixJPRiTqfVPdjB5XIxhxRU9awC8JT7o5Logjum7ehovOONNj2Ues2f37eFu8tD8PkDrk3vCq4tpZodE4DMNxXyBR83fQ8oRPlrCqCbo3a7sYqreBE3IXcKvd3zMC9R+41G1IF0AuQYfVhLZuAe+2bBR2Zu2Vre0USyiWsO/k64GKcmjKXavLhhaQZnxYhnX9aaKrFy9SYlKaJizaUtTvYqswnMyqrwfSwXM73rtQUqtBVwCWCP6uVrurIZmhbmJR7phZRz/I8K+j7SX+1pEvP0A4riULR3oPWxSZQyC6bPQX3ghcIJODijhC+jsg25xYpFV6Z0X61YMWokAI7c+8uOvs5IXjKjEYZmKj72/E0G4865/PvLrEL3S7w6tAdu8fjFsDtnnuPh2YiuaANmCiqmM5g3oDr2YCp+hPRxhDwbwgwZhHnf7kxUrzP+oKG82lHstqRgu3Rr3sSDqNk5JKwVHn9jfJAthixlrVyursEKzse98olhtaV38/7JrNDvnxCxpzvGjwfr4XYTkPW+ZcbbzxT/ek0fiTYich9xI3BW4OjEivWKmXKWrIGasWXp8qCdZnSekeVQ0nUJ215zzsOm7f5kbQiaLcrkdqos3kreLDm79Qx1Lw+Y7HL03JL2IbKNMRw8KGRR5cMn+1/G756M3GV5401CWlvgfoE0zV7mpZafLpISPCOBwYMdm/VFqEMo2AbrC0l/GqWJzEavR/jMwuIS+JyoCHQ/rMluwOj0BQEnC7Lz4yKH+at78ox2baEixctff9CKjp3oSsM2p1MbBisUtsTyni/xNt6ynpaayxzsAK8JTwcsBkptTCe7+JonVQWm0L06crFNTLGxuAqcZDentUThcyMcTaovUNG/TAOZRzuAJ7AYLjtIRE2r9odsFxjzfYEq4DeyRnRUDCsu6E3/XIHGcaPav1OnhuAF0RrYPKmLmsTzhhQ8NZSpSIWF+aUL8I8LnjE0VrmTJ2HgJJn7GL/JgmFHMrHSdNvXmpkXh5FrEPyCh8W8jjwJS6EmyR0je7kvIJ4zJ2fZoNxZ1B0lYzRrCYlLRn+FSPs1PQJwoCt0YsvPGHRFA+nEkC+DvkHuZxa4iITdn4P6vYFWAFEK+NJB0B+AZpXVVoeF1YPmxmlFjIp738DU7KAswvfHZc3GsTejJw8tyFwtY6YNMojMDPdgRKQfpi9OniO1ngDTram9m65ud04fiJ+thMXgF2/JtybmdAVMbNrbcU9UpU1Ye6aoxXd1AEE9DIV3Ce7OpJxsNa0MNyWBefwfA36T745ceHseWBtk/Wr0/W4xKxLJq5kaWcoLCKvZS0cMN6bHekpe5hWNqDYPKQx5Fk2KXSpv+HQX/HMJwxckwtLK25u5lmfN5KDwS9ir4lw3B7JixTIyD1ItEik9osLZeXGH4VD1jHI7jsJkJkaz4jDS/RgmDK+uSPGraRlKo+RtBWxAVZ2AfoNjCUTP16aAhhKxfVFahGxQW70YOdZAFsmjyFnfPb7JR2z3CasJ0XOuV+i+uVFCvzzygn+jkPEdsjkyRm5aBhYO3n7iiwiWxwMoJycjbDqUHGLToIF13ONRThRYUeFOoK9QFyf1HRzKp2GNbPm+t3K8gZYZyIWWyRStvUe5TaQN9Bo7BFXkW6E0QcjdiRtWMbHNuPhyn6SOxL/IS0cEkVk7BluIshImcNLssdmWeO1O4dZzG1kwGflEXp9YAOg6OAkA9CEg5ShFxwOyrPVA8s4ByqsAmIoOtyEiyBO0spEdtNS7Yh9yvMhpR+QSxGO5QwwqCrbS8zhywFqEloEeSuy8IdrSbNskF65y9OFOp68iYFte+Y4uDbS4bGatznfnANlQQkWVobqk+qZe3nsjVuAGD87SBUptFtiDzQwvKxjq0rk86X8u97DvTfTDsoeRTjzsiUQqtV+F4o1LZoH6PQDvXIkmYnOgIOuD0D7DNWNe8tA/gSpyVQjPZCGHP2Jbs9A7lul4pxigq25IMKBj3K0QRborD8plmOe5Jm8H1R/HfvneVh93zOqSqf4YEa4PEPD7w6MDrbKOdEQlb7KxH54bN3q9EDxM929XSrdKXhwVQsDEEHh24zNq+/aU20lupPfPyauNgRFKfcLRvWU7onf5w5NG+Fpp9ozmCtHQTsu0RvJTU2wJGitcP6PYLBXVJh5ATb4ELHbbPGeCApbQ40UL+DQVVoffCNgAxoI+rF8ndO0Jt5Eo5VA64id5vxcBBbWhaU13guEsCuYTGVXo8fUcFlehPPm+3sIB74CsyjOj0y4zssO/OFsHRyu9ewTdaiMCSJj4bL3iz1EQd4Mv8rZOgYUvJmbBdETUaY8l793KI5uTXx803Ka9P4S90Cii7ObubtkNgiOlfYX0KyiOHlAVlU+nEc0/skGR+M5y5D8sqEXLpH+1HlOh9T8edN1IxBaQzzPYuh+iFG7gdpbTCndJqjb5NqpGVkq8xEC49y9xqf/a2vwaw8bWyumvOZ6XjQbflh1zbkMFeucQbeHAo6OmkFziEqtK+rbPgmJ23aLCIlPXPoEz369mDAXwYN5xVlRW4x3z5EZ+16qI8Fol3DchvXtAQ1YntLv0BcHCQvnG26VT60oGLV7a7I3sY0iz+JwIIbeBKOmhWSbbCg1NGmpez3d0tTYIUIGvhBB1h9JTyQcBHQMiWuhm7Ipsb1OsoYcl4qLxR1wDL5zeAkbIzl5mCeQ4AfE/bUgwjjLbwhH9ADr+pxIvyhnc6JBSMyoM+NdviSi6SPuyaSu+Yp/GkkNgLYwUTmeqBrmKSKAF7Dy68ainTtE9eRPwS1f6Itu6NhYzKORCRVyCX4YVYrx3XQbmY7GXXfbgUv0C8bQeHPiquEU+PIoHs3xpeff19McSPaVw75pOpFpmfVxskn7YrTZ8btAZg62ONP/BmqzepwP5y9lOY95lYfMYGTqFVRvE/zDgojaTDZ6NDxnXgAjhbvQSytE3NZ618gBys/xPeB1DRvsatTNp8c499HTysuE7cqEmC0r9ME0vYlYcpCDzP927wSE1blh4PHBjxPb/ffsa4L8TvqWQB7MvceHcFgb4ivzxOPMv+ZRxdicNv5qll/oqKg2b04Xetd4ZM4GdJMgPynwsyvazm1/YqxDh565KQ3564FUZ6aCZq31KyrPMOxRsFag0iju9J2GCpN/wRtA9xOrwl0rArDO98XjsdG3H3qbeQipRDTAvTJ862/BsHsVvbq5yIG5r+uudOLw3DutUL0epMIbbO//PTVDeluSRUBSprnkaq7H0uHaOPYRmcFWT52CZufxjAoYitnUx5iq2lci41aLdjW89BGavD6Vbov177RsM+bKYgseAbqg9YLjIkY8IMKEXO82dlDlF7cj+ir94C21KovuO3mFAMJ7yfSZA0qNTFxoaW5LT1P9gStrD3GAZ/gvYbNeeefpf7uSxCLOqUvbCUdnB0WBiJElvN/r5k/IZ+sMgINek9V5FyYIPL31GWL6qZvp1w7JfzYZ5pZRjKIFW2N79J+tyvC4DW2kJ42FBxh+oCWXuIJZem6GjpOu17w1XiQZbOQblVXdcFwU8ZCqA52UevOxVxhV3xh6VtKa1LsOuBA2oa2RuK5WQBg2Rs/omoEFWzjGo0i09vXRK4uQeCi+BGI3qV2LD9ip1TZbmqMF19vjTUVtDwjikRlaK6rMCDGdFfjjQEg27Jze0EtFs+CvWjBCLwV2mOn5lRi95GU7Gkq9KkM3RaIJzYVTVuvVRO2I3eMlRnmF9WBmvHfrKbLgaXcudhcD8sLeKJFRrT6/RwZ/qZvF613zAHNoGRh6Z4eXAUk076QBUSyS+xO4zIhRsG7iTPXF3kDobLT12dnJm1BZoRU9r6hWKTBDd+EIS8JP2HqWis7IvLOULd7E+k5Cotzm1wMfZ2f/BYVgXf46WjCCXXa6VWoo7gI7ah0sFAqpqayMGSE1DFDklikLu61CBAbArzRubgXEwF3fhn/++QRm6Q+ENtZXBXwSHwOxqw5ehNBEi61GnPgpjD326IY32+js9U9NzcEQx47BKRiCz5OX3bIykWUHrTys+J4jOvrwoMkqAkwpe6StbWEy+X+z6Rw1zIysSD7x2OIFGBNv0PPLccEjAv/jzyeP2bpCkrInEV9u8qhUxRx9xdixrAxjb9h0M3AiIifPcjJVA2Z0KwFXs+kedQjWt0D9DL2BnCU4/CE4nEuKxjTFqM0dSeoruc8Sfg3oi5XQetwu+oITRxDN4Q4rM4mRPIyXf1xRPlmt1IPCFWcJctfh6/4LJzzFbOKRxY0DCofXJ+eQ0xex8aS8AtdzKg76XLRR3vhtYG+JJPbJlCJjYMFVylTt8G0khFV9qVxOS5sbFoX2siCldNPVvqgj6yOB6MPuukIMoP4C4vqkIOk/Dr20ARkeAsINL3dzQNq6AP9JpkS6QAG+RBlYpb+VWafobxNexzsLAmDo8HesPPHcPn0b4CIiMXLn1H/YM+cUUvGEqmx9Ub/UahixEJDIXd7HclfxupK5Tfam77YgI+DLU8sl53YmFnKkK0Gu06Pc+kZd0mNY5kBVZNdb4vItY27q2dXBODU11aAprv3XU3KmARIRsaMBXBZ3EamKdBkOOndmndcyk9z0yj8buPiF/hfOYUQsweU1k6a2J+sXsTpeS17KiNPHKm6QltUkkpiq1TWgpLBVX+34WdJZRkmVx38kSMlHmXFZ7gV4T3amhqscyyTg4Avbfk+gW1vuK1L8ESFAykACGKi7xcwWq3DxpFrXRvjVh4vojvXkNQBKFUcBga1pjUSk8cu7n7xa/A7EDTx6pp6D+HSjthVxfXKDEZoclkRuYK4ZvEFtLmKSonNsZa+4hlhioTspfF4GyqNWqFoDIJhRIXlkODsQsAVYpcoiBTWdIRiCkx/D1lWA2wxdjU6r0+hMvR4o7ABkzPobErPpX0SY/WhGnJC+EyOfwTOkNIn616zlVY9KfJEQeoEwtJbHrEWJUiltMIvyIQCabAZXui+vX48AX93jnUSs0DMDExou+Nn7KrZuxNDnLlFZTMFHrRZ9zYJ7egJIL4gnlx4o0tBohUL8h2i5KwffizAZYH52VyRwDrrFlx43xXXKcbT5AE9fBuzJ33m+cZtzFllyDDpi0zaxSkIsvqeiPIj6rmmkG6i/SGFYF/NkECFEuD36kI8fPK+Y96A5sO99qSJYguxHGBm8poqXsap4qrMFKvsVUtggX2hqD7yeWFJvqeLW4xZ5/r4BEpb9BCzMt8wol9vY2Hq3/tvGCbDImHcbaO7/Zcq/MiRrSPT0ukTc2bNjUJb6BAmfXGhwe/RlKg1DevOk6f7El7wilGCk1RJRDA0QpqyEANimQCFm/VSW9zhGUIi/3CkBZFRuWk2/F0JMPTtgiLKHloFXJytRbujqK1S2Nwdrru2HpKtWV5+7BRO87DSEjm1rRyxLHPLbAad13jQwjEmNXQ03VHGSb3mb+Hjjp5DpDKDyyu/+0Eb5K95JNx1II7UfxwNjgPd2LQES2NPcgkDQapmU2j4VeY3+qI8voWG4EjWOqgt0OPlPimwEs+w//MtGPA/axXpEqlEF69MgBzaY3Wl17yv1g0tohTTcyQE0XUuYfIbBG7N90IHeQL9oYjPcQiggSQyTCofhm4y+2VtJ5miftV2hrmFMC+iCREwbq9m8zgQEdNVApHSGiAvkG47WMjaCCQcR6IAmf7kepsfFoZ00oW3iMLPwvmIjK8hdXX0fq2raXUnx45FbZ+W1mLr/vwTPquk1/LmU2W7i2SdumlrUmRFHUt6NOK0vzCt8SitZgNhamdoegYs5L8lJ6cUTsgrjCQ4HCX8hwxwqg8O6HTHCMaM+nn1Rvw8/JFwK/3qEl446fSBzM7gOSAkDD1wzvO+CZMor/B4XJ1eD6t5/4NBg+qr3Dbm9NfNKKtS8iCs1fc5Rn9Pz/ZB5tC7IQL//CnFozEPyb2jXXAnq7upFTaCADHHOceBO+0z06LBiFadAaFCMHid3A2ZpVqZ/OLDpMp5I8DMpBxQV7KshhYDiSelnLXuBFx2K59yXfH4/e+NFOmHqONpvC1FO5NqPg2kIcBrOcevpouCV2aIg29A/2FutY0kdCtcxGdaXxcHE7i6sQGaW6AXqKR0b5D4xvG9gohS7jRf/wgOPIH6jZ9lcXtFA7nAC7kY4oINTOQj85Qjl/dHWH1Io2gQWoFtAzvHeToK7e88JrAoXX1Od4CrAVE5nzWcXG3cSd8GVRMBhzdOP9e1CUaRihr9eT5fwisghHpKii/VoaGtkXyHMCWR9SMm2/bO6GCdcvf3vF2T/mTbZzAbKRxsgqrm0pbOtvmF5pNqWHrcS7+2fI88WWy+hYReC1onwyMlw3EUPoCvXPxloNRcqcKVOU3SXRC7yfcJdRMfCh8pXL+XrVcIeM/VUHwIkq/THT5bqJi0g1IWuTntdtg7Rblnubg6f8m84H/gD+2r5WW5C9g+cW3pYjY/N6yhr97EqMuzk1wJaCxSiRXQkpyvgVWBpoEDkaFV028abi9ndpDUhZwn0WbZjdnoNEgvdPIcRpshPGRuyYnXj3rTZTTYAZYVD/d34y9uGxzZ9wk94QEtBaWKayeThIz8EzYa/Jm7lTRt6/n2NU1hQmVLzdJkoWueBwJNtBnV3uVX0npqEJ+1J/cQqflkyM//o+pFMaaaCepTJ59qMDsPHp9jIvzeRAuG3CkVnllKJvsMpErztgXfkTiPL1vvBgHuvAxRhtnNlU6XU1QickVzI8SPw8Df5zDn/K8SyheZuYp3P39NHU1vS0iN/5lWa8C+n0oH3j+ZF8LMOQUn7UkAP0Se4C+4QFDEfnIkwzq3W9LjfFiSdDdax+ysjZyphhBuCyBHNAhIbCh1uIobeoLLUDJch/b8wpcVdnco1FJY6xpfpnR3Ysz1FH7654ZV3/eZJYNol3W1sc9sUZ/f2WMvQ4DsFLXdptdLfC8gHwYWyOFFhgFuwBuSqXyBkhMq4uzpYl0v8cyLy6Eb6SQZNgL3zUJm19pVx9SvFDUnKgB2qBd7kOEnoENZpvQS+gMCmRiqbM2JORvdpYmCjOyPsIiOH9Z/iG/uBkK1R9n/w2cZqwu7X8/dNSofMz0+Xu4M3u+y+SC7Ig9PH+OsJNGykl/wxtljgRyqIfXpey1+Wt7Rn8fdfqaJF+QZN/N0CeYMGDulY0o9hmhMe6J17Rycb6sETq1r11VwUxb/90fAox+3cQnZ9WHxLL3PxX/1WlXTegyoxULJKdGq6PWDiUTLAAGw2UIiJeq9nzGZQa2MsvwlDykbH8Aezry5K7sv/L0YRFeZKA9emdSdHLVCdBxiI4Ba1Lo7N49xRqba06atVKvkxjHjmo5zQ1R0GwRdPJBtAJYmUdKkKk8Ht8UEqWm9l/uw0wft27I0jFCa8gSDrAHDR4qHOKOzrJ99K0vfllsJ8B48h01fHnfONYJ4Hivj6hOzXsU/iELlW/loW2Lq0BwU0b8wPsn522wsaovPCd1dqkxRViJCjQZkZ76S23tl4zxeHfnIErKzPNPnh3rQumMZyUfNrw56godXR3LZ351hp+Pee9kOZuxMcNVkm6Zluaex4ooA9A5Vd9P2VnIIBB9LM42R5UfvMrCp5HHExQsXIDjTinNvo1GOrRioZ5LmBPcP9gD7E/P+l07gV9L98UduOojvwyCcC447bRi4YGhPdTTbeLU2v1C89syjSjI/Nl1D/++4R7MlkS3slzy01weoikBMPCeKtiP8+8Rlfw/YYyxpI2gc3/4eaNodt9ALHC8eRfjT3pclTjpjthWJ4XtMJnKFiKa2VfHfOScohK6WQILyOYZvyLGO35cSrKgWRCSqWYb2HJ5A+7jftqdjakL2xo59/5rg98A8ZJKk134z/lb8ZZYnKSqQk1Ckk85YGw6kBOY0dh6b3lJuKFY1zRHWCqsHOKIj414+n1WO3cRcoh2xoAXsYKNVMDp+Kc+ZO3+rW0CgFkkaeseSFsYSFZQA/yQngS8nei7u3Maugf5XndRsOMjXZ7xdZiyet6xsecxNK/JAboXm9LGiRsmQdRjHs4IUSU0pe8KA88z7xBHOyayWvCBwa0MfJ98LgLYhHFBiduEUtsDhaiLHc2wDw8QprnrhlagZx9fluB1oTWbDR4XxJxaJ2AL5fNv/gPijPXGe8DD0qBONNWR7ffYwN6ehR4Ef3bWKs9AuQOnM592flfnqC9A9jgrcPSA2fToDbCKdi5s+UWVoRJiLF+poprGTb3vkbSgsnQQgvP1VJ0ddg7T9k6HcllTTA1tuRARwIaZMxbz+IFuTpxmvT1KC+bQw2igIukhim6URCEpv19tmB7JhztC9b+UUwvmDNArJCM94v+GzLTLSUOj8rQMDDcDXb3qLEpt8yR7pENoV0FiJ81ZBPSsvTeAOUYRZUOmD1lTPGuKiYp+B21gRQGuhTYXLzO5t+K1yTG1JKTo8ywVO6CXk8CcPEOTVpsXta4o4fy2COmvmov82rAPSTgbpVtlhxHoXOPgJ5lZgZ5uuTu9dTkKyU7MKl5f3BqCg1rcdKOIPx9Gds0kg5BMX5AebWthXcBvI9I2umghIkqFrDj6slML2X+dhj3fDt6EldPW6W4eSWJXu6GYy1sUmIydfEuTGLmO0HFtuXtGCP5NGV3437VcLdiJSxqPtKRGdhtx2+UP40epQkG6NjomzkFbgPUNjlkDQP6JJmEB6y8HqDw7GIvdG6LuAn7dB/HR0FluFneZHIzeRJ2fmnnTISiOY9YzgXevdZLhmSeg6eFolSf3LeQ5JNhSBUM9XYL5+oefha+cAeconI9iMNuHjxD0aXgIeFHVyMLUdo9+vYlD2Ip/EcS4pcDG3EHxP4mLHuRYF9xY8Pcx6cH7updSfy6sUiHhXN6LbL8VKCNQnhusHh2HU3X6xLYvvDAmKfvNKuh7Pn0KY03Km6A3N26ZFMX0LhL3lpS00WV7nIjQRhP2qODJk36D9n8unTlHyza2Uns6m+WlHuTj4NHAi6dVXNhODMxksgrLn0RRBaBKh4j0kYi/cx5rI68SB7zEC+gqlred2xetPLJ4cRyNyExNdokndkU/saAqoJs5LUeEyQW7R0LXkDJWFldreqursVcD8YD70E6JS0/2taxJZTvU5XoRDmAy0rwZwv6Da0MkfaC+T86tueC2FIl+ARCj7Oyjs0rTMk6gsykqJGfcP6NX1iqELFvdfjFIJqppuMoXNNbUbcAvI/I/YpDP+WlBjbi0q/Js+S/lt144+bsdW0O+jGP/5D9aDZ/M9EnRjoT6xkCQ8FYe1htZmoDq5Dd7RSKQf4MLeqce4ut9pwENxEM/87cNpaV/R03YPAp0Bw6JEIJ+6/d+v0IpGp4tBDWP3lvNOWu958tLkvavl096hd1shyHWJbne4RfSmujhOS/puL4606Pz/kGSqty5MkeoZOESJMdpwaNJimD5zZhbv6aWd3POn2BZnujimfKKJKwe3yUhXqCZS/oZeL1m0j3mwYumBtArUne0087ryqd4FFnu5PyJlDQcHgjsyAH8W4pKjMjJzRrECT9kmJrwTjVyj7+kUykpz6bgjjQMTsNZsKwx7ZGnV1Odz+asII32p5/Scde+TpYCEd7BJWnfJWIimtPujIwglkF2hWOecvwu5WzXRt/MMC1/8Fl97cIWjMPndqGJT2Shbtf49o6nNfMG7tSWg7VMtJl8rvntI6xqfud1dK6ckDEofWnAtjpct45is6YE0U9XalGTYw9vFFku1B99AhAhkRaIdI5HP9SwHeGE7TxwtIU3ZirBr4ZLVF1f0WUIsuyzex2NrwFMdpTkho4jqPZSnRF2Rcl2EGUJxXn+GsZGh/m6yJEQl3WwmoTmStmCb4vzkn7Qy6jtqsNI4UyRY6jE2UUxIgj+YGzQxqM9cZa9I6Ig4PHTFiTEy8WfesZ99WUAi8G/KQA+ncch8battYKI1ocfk1fwt50bSNPqeRPlLzRAofViEn3ZifUjxtQCspQ+wYqGy0NqTHT9KN6mh33q/x4MeYK4AlO17A71R8JE06dKnITLQJxZoX+mUCG5BdndUrZH/pRPiD0JZfyBUAMjhtdV2Yk9mNRkThYJDKrT67KcmguQL5KySh5W8CkWDHKUEnXvqlMnDDVAhDWQ1aTx1FSEt8+Ea49KmGaF2uXMtBcA/h+veaX/Vxew7lD+oSMENhqq/YxsEh+wtYvBvmgpxwgA+cOdMUdPOK5IPxbt+XGhzh1jFr1a8xFKgTC+tWB7v2qH+bmP2ggtJOze61ZBLCSBzzp6JJ39FnXAcI+kpCa/bcjYfWAyBXG66+6RpdKklWRki1vl2s6f61RnH2YmbseU63adck2JhK/Lp12fkORq02C3EbSx1metQ4tvymusU+3tWxnnZsk8kR7UehZAanAbbmKSlmBnCIL8R7lqnJ4NkAVC5LqbCnAG0Tb5XNn8MOEMtinpZA0ctsqeuT7eDEFqdeaFMMNEozP/hMKsO5XSNUlkGLswAHSUgaRDfug2NPfgRojF2lsi4dDXmKTMRFqzWZ7aWtA+4bI71UkJtApmGRuO6Ch40PYXUNAgwVeFN7KFCNPTkW8TGOrRt+tNcqfsL9RtcojkcsHZKXKWfsez6U6LJY3H9YvngtBd+h2Y1vCL6CA7Wg87t4mqPvj+U8H8ZwGS3Xjp3u9Oxs/jMBJTQh/vEEGiBtKKMeMKo1qx1WKILUpsKKhjGCZKDZ3BvvBEHEox8Oa+FYpMtDtMrqjN98w5A+hR3thHXiwPvhInZQCcZ/YpF5dxUoWua+wWKjMHfvNf8ZQVUIbjq6fVXVd7GfVnOV5wXNs+9qj8vdoMn3YTkyYHt5BLCh2zQiKFiTnuj/UjYG76KrFVXFXfvdxHM+xoZ7T1f0Out5KFZnRFGS6zsVu8UPPCybMogcEfGq1GOYM851lzfIYyP31MQMk8XkyRSMAGv02zD3hDNk25CH23a7/Yio/L187YWi60udGcchtyrwwsvYu92RPGLcrku1OT09dIm97iSekQgJgg8Zm6sxW0vzB9RmAnVFpjxt6LKpNehTaGTMoxh++XslHPC+5Q4LMkbmmRxAhlxw3/wST5lT0rHPspCagjx15jpkbhq4nsQcG2FndrPulPoOh0FFs8QphmYUTRfnLmEWKhzQ8i9zjnnIlqyG+Dk+pwCza+gayLaqK5Kt5pTa9+R7XwyNIPbkhoR2sOwTJtj4lrXw3ZIwYA5748JMWm7gqvJ3tWC24381qxrMmG1ptBWpTAGePdBvG63dddnQVXRdgCxGrPyY0TlYiKLHdDZ4/Bfc9nsdpNITGIOokuBCUQ+hqxomV/q7OjHrcD3YBKzj75FEehrKSu6BkXx2u6XdmUVHFvQY0GFYcIAAWg7OjCXTqbhXiKA7Wh+R41qU3liTQMMi0bQYsLwVLXdVPrLP7DR4siquDFkO/zWN5Ed2d3NFeauhl1ZF+tpOwDKVIzFVA30ycWi8iEnjlppSWpWFmMywFD1Ef8Aan0I4aOjxQxcS2BIsjm6oOLAPvRRg2dFnOByTuESuaGDbyD5g8ee/oES56HUBaHjOhJVSAbBdACq8DsJUrRvn+iHMfAvzZkkCecPHQn2TPxvxPSbgFN5m77CSwzxCWI7bArM7qSxJz18JcQQH4JTpTGRPe4bxDn2gyR2zGENt1qSiUZQZxNhSWajFwBFirh01seNrcnMDAo4UnHe9whio+AIg1qjI8ZcVI9X0N0KlrZxxZrsJj8qonhftwYlYJNgbZt5qntqEKCXorZs/SmlJP3pG2lhIUtzBiwt8N7jrufOE9bD8Gv89CRdyq3kOAB3uE4PZutO3vg9eUG+OuK2KHRODlZtnMjpcP9/S6FHtFfRD91ZdW6DfdFONBbhpyvsitBQFrtjlNs2YVFM0+slFPoGlrEHXjdFt8lhu203Wq65v7tO+yrL16I7zqsaLt3aTbOzaUl7FdqgqWUCk2dlsYHJRTxGi76XBZlunexAaF5MxoMxE1bu+HCrQLkxocQroRT5DrpbkljZ2X/n2Lb74wk++R8I7wUiIvbG15HnAeakI+KV659uZjtjK8hCFaRBtQU28xDLS1c3KsSA3u2bEkxebMkblCCCxaLUn0NOZ2mXTKB9HCjcpheNdkfvlsT83wyR4wQZV+NuIMTg5Dbbo6XlIngc7l4Fl6h5BcCKGFP+NO+s2Pk8+dI793NDPVnYxX4fDkIV8EoLFCiE6TUUQSnI40JG84g5R+V/QdsHZI0DIjLLaZwvi/WNQrq+6/t/eBILR8lVlwQzIJMg/CkcJuO8Jk77/UiC+49OLF50N7Xa6jOnHS5etdSBsfiGHehJnxhysWfma06DSIpwREDutG3lF4xUYyQW2Ezv3+fOxE7oEEduAdySnkE/pKDSS+cWyKPglFmu0iLFTfsJ3TpsqGjOM9tKy7v71yxq7T3k1trmwtP6tlWtzaspjdxKQY5EJmo82p02d/+RCBrJzElQ8dqQzOsBz7cSoa7VEVNJRkeEZsiiMTBc4cwdo7LAjGMqmCJznq8Ci48wr47cJA3UjXMtH9VLv9zYI5YGo9O9bUHVxBXcGusxo/9MF8RBgZ/nWDVkR7qHDaK+0UCoufabbBTK/XT7zmTUSd/aI9r6AErCri9SiMg32l41hbii/LCKwP5NsOI/AKVPOII+/8KoQbWBf9Vczy/GnJHbuv9rj4qiNrjUK97oDwS9uRUDDEo8dOMf6PRr3EGQpVEAtn84X6pDDgc5HADrR96OAYS03QVPLhD/TizqPTHR+wT9XczW1KPPMVYCLwagU15Z49aZc02yIfnGjmeY0PDYddi9SqMZBurMaK5NTggqXlmlUiGNXJwNtFmMRMwDRYJAQJn/3KSpMJdeFVBLANfABXGJEfBQCx3MoeTnV/EF1aO3tl7rUi8wv8033OkfMp5yvQSAXN+rCm5mNzrrnBkffJJvm8Dr/gSaKIZV5RxH/Y9u/t2u9g+NsI8wDKIqNH+eETnnkeNpaOfQF2o6dSdvfZu9RpMP1baSCWUDcZCyewo7Lq32iY3xJFgiMW3tZmRiDhvgr0qnKB2RoRb5zBs4F1oHJmNj4lUSrMCEdjWEombygOEq3LLO/VNvVARuvKT1usK3/RRQVqVTWOQ9mkvGqTun1sxbMVcMDuX8PxPdoDyKIZaVZsaUd/Ydg/qWMj3XG5ofEr97dzq3mqLraYRCwNuqOfulm7ajv3MlJQOp+qEzGzxDTiisnMxBFQlBPiWXm3UPah0l/HaIpYKOXlTds79zKih16OIKr4fDygdhIqD0P3LpxiIPpuoeQAZ9Kal9WstglMcJiIiOePY9E8RM4qro5bBvktIPfYJlGThWCrHpvhT4ZzIrkzXMwp3HR8Fmhjp+QmZg0xpR09dGUvuhBcKHH5Dr7npBauovcCaCxpF2w3/AcrE2rk56ZZDvN0yvgH9RBYL8RoM6q0Ch+ECtJO2dcvlXXY664awgVNiPNitckWIw2bqc98j+u3iqe3ypFVMy9P/gUU7UoyY/ByVUYgszcZAea2v7bkkjRwsYMt2DXLj/WCqpUWpF38x2IoGJp7NGip7ca/wN/etPEfUjZtawhtLSYiozA7jSOFqAlqaJTbul6hRO+kuwwyufoekiu5EBMe9eP8PPfflviSiw/WZaFyac7x8/y3jZRlVM7WaNy2dfw1NfcrHVQ7mz6ERCjNe+v6yMq7rFhtAuYuuqkhfpC2oKRW+wLA0razi38rV36KD1Q+eeuUHlAUvjE0XepB+6wMRiA1JO3GaJ8C27nSxBqCLkH+ftl7XMdfbFcZ8acKY0u02LIqdNKGBckqEV3IQKk0+lEgvS5hDPE6x/t9rUhowDdCLoJceLvSl+XsS+4baIGagasMlyo9lBdwNYOuiEGBRXoh8jzfizUFEPD4jXDqjpJE3KAvDrm5hDTJ2Xv3FxYPwczwlRL2vnYabAgjkRnqrbrLMU5585z9xDYSk+QcsVX8MB7UnJ3ndh2QU/z7XvVkdkYleae+5PF+oecfpiHBirlQp1zbGpFGSvR/WoAH/f2kv4hDSTOc6h+GE+EKALQnRdD4xXzpbSzGfCKbNnEKC+8wP7kY5nKzHbSxzCKBugkNJA9L6pd3mh6hA1rsDecgxBzA3SC3+sDYyF58lk6W43jJqe/XhcrqhB5dlKXbk/WhBgm75eddE7FVPYK+PGchM6ji5PhXaeJ9q6FSx74V6GtqWbU1FIMzhg6WDz0lSMP+fVTIZlDvbRjNXtOgaWJXBnJnTsDGsLGRVi/LtIidFwnA/YURkpiDgRBMuwGL0KjV+aMT133WCEBgs7jKwYvNI8buHReVIdie/79x5HlZ5ky4RRERxwZo+1I/II3iALPJZAh0P4IvGVjyqiNrR7EESqIoYc4QIRXGbXoIDfwOngQWZp8QiudL6iG7otahkKT07gj6ucxXRH31iodgBUxSjvQWrLdFrhduqY65yXgiTylnVCVG5kYtHAujv+0ypfGsjt/e14vJgd1/cy1iX3ED5ByofNlK9NdRW5TdUuThyt2s+3pSsXTji/pxkkzbg/V656clnrYHNTdYZ1rqqGzR1jreEHMKiavpubNv2ZT2BPKZdoSugpSZruWAx2LfWUZ0Gv9y2S100gGGLXRolV94bkRbQ6YwaqkGYyQ3l/pG8TWUSgC/4K2q/od+zUwI2D9NnLyL33xG80Y4RI9J8LbajaUF8zihyvYtI5j10S1YLFvJYWET8tc2gyIavccrx1G2ViaVMJ1Pyg+n1xRoP/PPoZ3+azYTNZWbWVWW83N6ksnNnci7+I2cl0jbH4b33ZkjC45h7BerykKu1f+LN8/3zUqsdXofwId5ylmPfId2Uu0TKHDe6WTaX8jqJJ0kUi5hY3AFimBo27z75AaUpZUrqnpOgZKK3WSdJUfm4y2w6UM8Mu0KmFL3B2niwte6EWJb9zPqz7v6cghFnRBL2nEIPFQHXFrNX+QqxSwrORyeVI8gW+1CrCjl1N0LtvmWct5KieqpBfcBlQWiz3kfQaUAq2cdVc3y93zrs3KcNsS6zFmhY/BS9YHwbdWjlGpZwbR3jNdSBWfQ2YP5DTD91I/zRPPzJNccSSG6C3lBYsIadluo3IFv8QydTZD27/1ybuS0VifFwMrmZjkOzGvLttzCm9b+o/ZxIG99Qp367bDPqsCaltUBPyn/ZfAgk8jIsPvjuCnMbpmDlXhP3bJbwvZ0RUxxYDtWQRDnRHgqGP8zU1nPPxQ0OX+gktkc46Ien0F4VOvjjo/eh/grD2eAWC7SqeZ9TJl9L8GE/ph9Go/pY8Hkc3CRC6N5oXc23xnz74xSmbu8dJVNyVvYTXYWpBh2fRzJHqNEBgSMuvLw/UA4RmiPTlCmbvngicJzuLX3amhaxM7nVnL8hAITvXGOCT9FIBgi+NWDzFsyaBZ5NaP+aNALWlwK2rbzhwk/BaxAiQqo7gcZwXHBx4N+x6gjYKjZG9Iikq/XNNX35YdL2svE4EMLC88g8Iq2JvFgKpoUfHd5dr4GKGmE7uxnoZjulbK1O+GJxX0ARmbKqunyEAqUrOAJdsSnm0xm16y76DGx3uQNKOVcgkqgUS2mb0x1kCneGs+IWuXtdaaqAup0CVBNSnq8STb2e/bduIRe/HswllXgoDfAYrerEM8wjUuvzIud1jvo/KpHcA2UsxKJBhgZIDCZTEz+UpCMSt7Mf4Fs/+MhPFpswxp90whSMwQszl2Nh+c+sc/CJRTSf5VUEqEv4ZzIGcWgxl65mAXlxSbOjsz0UuUyGar13ri3E+BguwHgsBL8JGxt4ts5ZA1paTGGNcQzL50c7jW3Bv97eZocCLkgM8jtbv6QMDUFrBzxP5PXqsVvYNNuj3gvBoASH8q0kKbkkH56lvBm+JxGn/92C4fOe1SdJrv8zaEeR0OJJS7GzbFBQMBNmcYpuVxE/fMWTCXv7SS41e0DMBArhtbzAPJxACzS82aKzwAzG3XSCo/rAwNNsJjveK4+g7qRdNqrThzTnyaNY2VzIUV92WzkHqWzfvFy6alu0g8L0QIkAvw297EPNz7tZC5xtkRDm0y8C/W4uQAXurz79Oxe/s4b+LkLyNU8fkBabdR1KpRDDTbi7s3oNMbY0K7E0olDCc0FsR6doKnRRyeJOP80w55yjheipW4MBqv+Y6wqvHh+gK0GJIvEkDpHO1d2tj4NrWryxCFzw3K7qXMArcfiddzcBNU9D0yovj2k3D1bSxMDndjzJmUp1mKeJDV3Tz4y67rprNLKQs0TygupQlEGrPHeFR2Ke2IUwV4PAccVFvhBIyOKiC3+HP73tzjcoO4Wjpk597Mk6LsMTasD8nyouvpodU4ed7s79ns2zLPkIT7GT2ySkypjdQbB/D5HsS1ABLbZBsMX4MOvFTrsOjiMwCW0OAvpG0SM+oq++vv32axVacozo9Mz0H2iRxaREx4TL7AOsvYIfOfdXXe5O3xsF1ghooYhaonpp/PYcwMjLWfCF1EIhKrsBNa+kYlkWQPS3NxKS5swJLEoxQ+QstNefVOQckIg0qVEfLewd0cuwAfujPzsWM/G9FIt0vxqASVucE68XJTgFtD1Wjs5uIQ9+kia67niXWHRp5Y5PmhkVneWyaLpYJvLRu9cm6f1UuDHB59qzgg43MiF6qZjIGNFkrssbDqdTwReTXraBIAAYfbjNmH3FihcGYthr2LqaOUk1FSAbGt4UaE3i+jP3vx4yw9lsvoN5PnJ3E42vxojZgB70zFevDx8OspBVrQ/cb8pPlnPgzaqIHFYiNLgIDYFaFja7ZQo9G2261vsBhvKPnRmSLS0DonXIw6M5Nxlj9TWYWCERmDWuk/vVDLkRefnnz1ziGrgYxA/dN6XHd5o/GXKGPMJoQquBLBhInEJtQMnR1bNJ/uvhiRhV0VKDGEEmGMamL2H9GTWmvQ9oxiA4+yyz7etFmldxaJ/7Y+iDQ8UvDPgYWfhv79G9vVMtBx2lkwpuyBQJTq/c9n+lcF1W1WM5SSHY9DEWFZYK8Lycza3jzNcpZfwFJE8/AL3Na+6iALPxIE2lMMGg6IpDok6Z/6FihzG3atunLOHqvygS6ZvwMrr0AalJ7ZlvZ5CuNnvo/+mlb9asQP5ZAKbCPLkSTJkN898+MNSgEF/rhESdUD/xS3YvxrZt+vJEdn2WYADOmHG4aiuV5xZdgRvkA2fwlID495Z5BNHLM0TG4IPFkdjf+gD2pTY7bqh/rEkLF4X4USKtj/BSO/tSgFFevKOeawWhVXQ0vZCG3tgGAQK3amBJoex4MT0DkK5LA6gYekoiqx2wwh7RFBXZJNB2i9eH3T9R4H3cPU5PMOMA0ir28HtG8hcjFxZH9F47TLIaMBEigjLWS5Q7K17gf1G/X1YDFRfiCT0gVkZEANzzatsPW47ySHv33o4lv0tUNDl/T67L4I+3KTbujEV34DOM6A5Kaob1h8042ISAP6rasofYtS1GPaMsUet0Mhbyx3I1YF+vz88ekALmyQi62RsfcLFprt/Aa5cX0qeKtkYMZzph21bR9kN4yLL0ISGzeQP62UHgZsDxDp53DBT9I3WMLRLhFYDSm5TDc5epgHhFu+CFaCRB6SAks6IULU4gRcuhybTL6P81XAvK0z8rMLX6nab6Tz8/c1tQ6I+bm0GStZpsoHBXkQjvw6MupZFfr9QoAUiPZQk5UTa6iuGWlIhdStIKyZd2A4H6iBwTHF1BWm2+I+sMwGtkgj01nHhyJi6ejZfZa/ZybzOJmhYXeFwmV2jboASOixAD0wIxpoxtp0Rd7Lfd+qxRbehvkT7DDz0UTG8/4bT0k04U/7kMdyY67vNKEB8ftNsai6PAah+96cb+5W9Gsc4pb7YpobModNMM1W3LEBYVwp6E+Tl2APKFVGp4vleKcmfpTYkdY6aZwtyTQEeEDD1H4SxY6aL96JVefGKVEa5tyKyKrXRZ5alt57hM1iSQP+T2pxs0DjHh2JjH7Tpn9jlJgIaTKDiCpMjwIdiicEmNQ0eROZdZbF/QMUEcAtue8enDBI4Hc7479sdLPQMvAGl7YUUDlXJWujGJkhFpYogjyoK8TIXHcebTwhOboKB8B2Jw7Td9vPw4s1PsDwPxxY6EtUtmzvLLUsKxw37qDyI7+A6KgdVkyobOql9QtEj3ERxH/MOLCqD5QBQuFQacV6sM7zzk+URh2BcBnhqp7wFqRZ+vGkxF8XG7a5Su0xfF2lQuz1eRUmPlG5ecElz5esqY6dGxt2SwOBnbKrVuqAbyMmgI7yi9QAOzEaXVWKd66+vaqMLTBRHrsXV85nsRoGtfLx982m/VbQJUUdPXrjbWL3JuPRdpzry1w4TSRkHB7eMy0jB/pjYG/5SOt4OVtUitmERjHpDIPXQ479i1Q0J0/01PN3p/w7TfEL9JDjMRtr5zpYhuxLDdd3RkkRfeY88wApQ86gZ/iHN3ix1ZJs+5D0P6e73bb7dHmisD+wG+fjrrB8OIeFbazof279GGS217IMt76PAM3SCZezAvz6a94JDFpR+6yJIqcs1YSI1ex7k1bPjHTF/GjBld9l6Asd3OY3OHr4jEogswzuhu0lEXNPhyWzdwBwkWi/uAlZkypGvFOApdFNtfSkmsOFJ/byC6Rx9+ml66xLnpNX81ALQchRyU7nmGgG4OiSkkeVfNOV/f3znM8eIdUGD2TkI7AAJe4n+EJcuWAnd83fMjfZxUWOlD6grY5x1aAMP+zfpINW1HVNUH2zL5cjYoygfpR3D1gckNyt/smgpUvs2HliU89tSHYqYzGQy828xhK2dtT45CsdDWBueSp5PCPAkKCfnjEqNxUKjTQHNXX07e4uCKuW4b/6DsC5J5oKozB/S+gGuE9G8clHskWaxeUgl3sPhaEaU628KCF1QLJ4cSLu5CX7/gzuSdH4Nk01ZcjuS24eZjws4XKA5oVAoL/RE+1DAotleNABUCdYYuLHGvW3hbjZGVVcYz0PddGIc4Clr+a7D1Lo5lyp8Tjvqy0EQlHig91V4TyFjwxfyERxo+/4kBVKteTY6bKDrjSjbCj3YbfQooeLo9Wwfk0e+1X4MrW2KPVuHr1joUjl8EP3yBvYtMAnaBdZ9svMuQ7kOnU3wkvjhvxmKUkEevfwDIgAcUw23ccK2vfEMQChzg6ZkWklE+CnX8+jdZZ2J2oCKkTzjyg71OiPI3YnkXl3/+91/oUYRXsp3ivUIjZiuTffuqfS24G5839/12nD2wd5AcwpevJVYHRsJbugOTuhbQVxwnncOpV7Sv92YZ7Og96kTG0txQgSf061vMXutx36PsgppN6tYsiwEKoBZ7rG/gndk4hXK6Llg8o0gT7s3mJ2KngshKmftthKktqd/g7AP9eCyWEFle2aIHq8H8VNBM0c1XqkZxq1aFctvf2HfY2dvy/hiRxFydPqk9RTJ/QoBL7YQuhIEgHNgHGeTMPRPvNDF9OPDKOlz5UnbdqgbAcD4FRnXPrfCwWLla7B8jmqUm9xollvKcz+I2qLb/OtQ9Ej2GOgRXWQwzy/4DHKzph0Fgvb6sks3P6VB1SLnuh3otY3KdTiM0JMf3o2X/Kpl/zptncEAbtvEBJ8w4j4ZAdzx2q6Q0C3oiwjrGJ8mkApKURFA3gKnAeg0+OweI+Zpek7qhCuycinYPxmpRt7TbY+2giUbzusktKK93h+MtJVuec2TDxzLu5s+DCJ91DCGCidaYZnk8QQHP4qV4yvAqU5tbr09ItEfJa/Fqoz6qk4dSWAzAI3Ei62n7uTSCLu7cWRHB914U2MNm8zJMIuMu0lSAF9TdvDKLDfZcM2SjfHn2SVQ6X6XHHRLKWzXh/KSDrEIRZDmSw9BiJKFuH3WqzsXq4PBONXe7P0hTHwaIaui0tlhnsVXo0GBFRb9KzBtwcLH7uTJLnxUDCyllmxr7+Ncpv3DouVdVeKgNank6+7l3WsRv1xJiWuDJDVWvB5VUz9MEZXrfcz9AgvOXwmN56PLtcxE4tbWTTT+zTVElIijEtq6ONnn6Ji7F1XChgYB9LqTnNwptNWV3bUt5na9ZXYgWKvgwYdjqsz1aNk+uk+YP9osgu8ED6xQVCKHuyP3WlCLgYsowA5E8s5XNLxvvc3CcxcKWOd6YvswbRQ9Ud1caezzSYR/bOFzI4p2+4KfWQP67nyO8nDrFqCxadhKHzZxCTP7Qj8OyCowXXDgmBkcWkvuqgsArecE6mdV0tch7x5mrx8+ab9whlN386bDl4Uf7Avd848r33CJaUPjgTeLV+o1lyOftJwPJayDG2QoYwr8r5Q8k4GhyWTmor5gf3KvmSIU1fv9GcJ/g/J656RhinqaQWCOyeD8spgvdE0peWowxKf+y9CcTDNMFnw8mBdh80zBk8h7Uv+rPzN0nrRfxgvt8Vx4syMyVVxcWBrzr+VXrg20xnnCgVzpsyJ0hnjVHHJ+qqCwfd+LK2gg5fjvlGiWrNuAmfK/FgfoQq0fbfHbw+jwXQvA4SZqXhh5RX9/hwDuZiYiq//B2LYT8C+jdK7MzjOxUgdZM5ScicUPpHzp8kMHqiKQnFuAyPXn8eniiYpsu+9eNvyFI3+hkJplkwSBhoxeutSxHNEpp/JLUy/iD++e3CtchsnvRWZR3Lrtb/psQNJ6ukigDbBDrxlLjbWEzWBfE8j+UqcUxxK601J+eyHGtuYbQzM+lQZqcolb8LrBBvUjVLW24z59mPLa2+0vkRZ5Or3e+1c5eG7aFI6+5lamnqd2LMAPBCEiPqr+BRlTBnHp/ITyV07e5YyHqYSC/Q9TX+5hHw5fLlVJ69NvxR8cQLIGZIKJ7vyVyPG2I4TOVMD2dTh4mX7Vc4CJV5RIOUXncPY1jI2zOAiJJI6pgsO8c3rPLzKOy8Hbf+qODRsFkkhLRoOCHqay8+EDWN4w/XmJ2GqfrdEGUzTJkvJbTdXLzcMGvpnTEmHnA7E1/Zt4sEIi8+NyxMqIGKxRl+JXd9KHkgiTQ9BY+FasDGeHpVYimOD1yGgERLFmPI1cr0mfBbF7L1LQnhlJ/3epkHG/Qzeu97frsvKOg7usm5yG7uB5ym4C+tjsVwQqqQm3Xx8Oi5no1p6khltEV2TQihDUfTU6+BsbGd7RR0/PAU3EzQvTnTPOB8HLVXjTJTCs4hiFYBMBHzauZnTvMivJrG4Ducr8EyajmlFOIUHdKHBgeB7RDT2UJSEKua8oYEGQBi71V7aS3OEME3FAelB3i84h+xzm9w6bFW+lUHnvsXP+iOpOkHzAgC6pqLqAX3LPctWvcJwt6DM68tQWFXAipQ93yDasqeMqKgEXM9475pG8OsgIs80fJLFj6z5ZBv3SK5ZbwHRcwchW8tbFe+bLQ/OLKgnce6uoqQJha7NZv5qtCfROHUgwDM/1/fsbX7lqwg08CiPlnjP17VHJXN7+jTdR7wTlaCsJAa8T1LpjKHllHHvsySRa3SVDiSQ8U9i4rWeVQtg1o/e+13YYtFzfk2w+iBvpzlfR//ptZwSjOEzw8h2kBDFEB4DQK6Yp31/xbFaORKjR3RnVC3FZLgOhCO+FpZ7qM8PxIqbXLZiy7LCTSOe+vSXkA/9XGZuJkhjebPLehhZBD/9GTllPp6pSGJRSqPqr+sSSX62lOmuQ29cQg4QWpgjcS7IEGpwBDjY4CjP0uYDVEnwMd8UDe5GfJdCGNdZfuHW8KVG+zJ751Z3pBO+bPBvMwWW0KzsOFcBF+jLb6iAY4NwKjyfYGasL3vCRqc386VQ8348x47rUGhEuG3OoD4DI1jIaVOBLJzPdeQNy0i3ViQWWnVvAg3Saqb4k2Lql6lcJjf294+ga3QUyIO3U79ZzKLTocto8KYq0B/z2Y5haMS5nAAfNOIuqFczSodh6T8mtP4Rob3z30ad6WNX7OBMclTotfzHmnpfV2Ns3O2VzRWvCE0ltsYjdT5dqjIS/HKn+UqxzXnejlmreiTI+QQqh3eEDRXaiQwqms5fE4gCHs79jYeFy8DwVZN7PceU4ePm0RIixbkt0nysAPL08aBiOd8GCtpeZpsOImCBCWSgV00tYPTSaV028NSdVjGZ/7DkkdjthUD57Om89St6fhUIrrvqnTB9N5r3ssfMmmCO1CvwWlcp+Sz16K4Ue7uFDWmQI1OnK5xmQ1UA06i3zHoJLiEMW7bM7fZKnQ/iP70GUY1iaN7JfP7Gc4gQFkBPBIbZUWvqvyUlxFjQsss8BfLpzgdrbXh6zqFFf6Lg9pUa+ZU6cReS9oaoBv3PxQU/gDJ7sbi8FJM/oA5v4Cp8ubF3SqksG/lD93pfYVEJDaMp/EoD/+O9eTBHBH+3EtepS5dgN80XsCXRrKYi1qABEriyshO0Lp/UmezEI/Fycyb39GJXG9VlZtAoAI8dHiVAjL5cut47d26bQIs2optmQDqYaN2UL3WT9lhD+fD4gP87qVVgQD/3GSSemdf9DVi5VeGEIuqq9DMuSHwwI1Dz9oYJWzobktdGD8Q/mlR0JQllgS9wUJAjYc94a8Hs5zerg+VhbaLDhYgH8LpE90j6Fi50NI8bKeBCAxOr5MdOQIbmwSzgs0VMTHrN4x3p09GOUKTrJ2lJyhWC/IaZCtOScBoQyFj5PJGs0+MotUI2YhOTzKJwz/dVYK3TzZSEkQoh9PY1sshCA8rFc7cHvGRueWderM4MwkovEF7wxKScA/wzOTQJpXklr2Mk9FYsGpEnsFp3g+fNOdLldIPk6h+D6HWi6hiPQghDNPJtYAPqd50eWTzkHgH1HREdouAe3Uci4o8fpvBrYieeaFiRW6T6spULEdyO9WCmz36W4fZCStgWDjRByK952ZmN8HMLIlksDAA/083BxUFBIECOtb7uKdm2vei1HBUQCBbAp6CuWZXqas7QVheaAN5IIKyRFmUCtD2KoYGBzDsz9mzHdTgKSR2pWdLER2IHSUQlNDlN2jhYSAU14djKDzeq0A0phyiALmUjGBMqgFt+p28aC1A6k4xJwVZ51205OQjD6ubmu7gHgeLmOKLnawsIOXvkXB7XbTb5get+2G6BYLmb2r7RnzZZBeoPX6iBiZ+r69MEAvvG7S67ZPMXUMSM3Dr/x5Psdntm9T5E00BCb9P64i3pXRB9p2hhyGP+wc06GiJU6vr4W1sp4PaNsLr/RCyW+Ern1IGCctnGhdeKRRsbdKABBXaT7bzo/zha5xwtcvFl5/RHjF2DAi40dSOIMZCVXTv0v/W9UUtILpfVMqCH0A6yBraq3LLdqbW3fpGuaO+wQ1XjDkZKPVfuNZzQ2cMI7LCr8FjKdnsE80Eyuq1UuWcyfAmAdKJdpw4CvSgwZsts91LiL9y5dZenfiypNMStpENIYFurPMKC7oOr9vklkfYQTbchS6uRhDmoNRn7r9kmI2/Nca3iNs4ewuiBPzhKj1BVZiVFkzD4I/l/OynfcE0U5tR7qYoFzZGHSnG7JxzmkvubUN7viY7hHMg0cKLsgyC3hWuANqlOXay1thFnQUSeO02K07b2ElhKWKBgpeq8UgwZNOb39Qjde1flRm3m/4umPtStKZngI7oAVnkfIGWn+B22okBNBSxXGqJy0/NoTwm/DBK/7+5RiVG0SU7cMMJJqJ9GpLFWlZ+BQY/PgHinINx3276A410DThzXIUGKYQllnpghKDF67a9ZjcddO1sLM7AtgRpWi2h/PRaP6D0zdfc8K00FRcPUctNYNKbsCwabpfcAFCT19EtKfdpII7LhO+Xk/NFgKS+y5KQmIFSQiUdNOFyqpWTV2IvP1ZrqPnNkjGkcaHHMTKCAiXb0C50AvZXYxgzn3amzFJR5FN9Q9a/eEz5suPmu7GAf2ygrXmuGzRncHGxvlTk5DPAV6pI6ciiAoB4Ljt+cumwh4JHWj/MqOWmRSWfqE1s1Xn2BmBSvNNfM9/4IDj17uPoIkgdLhKBb1gEp+jdQbIBSkdUpiwgydoEBOoQ3DqZjkVjWKOW03bNO8YQwCNEiX2tPFPLI6QnYS/2dDXqMd8j+B1MpYJfyS0JIZcuambHlu5T43hNZmId2ZOa9FOHgfr/Z4UA1eRiNRepGYQ8Yx/gSeOATN+xEiqwapKIF0g/7y1OAAg2Qi7ltsoNRkiTfC86GKfpdmDIBCf/IsbwHtB7VsKCTdzvrQgDWvlX4WnDWx5GlTqc+mcCOBvrsFBqZwveHdzFKI8CnjFlGCHZcOpyiTBJv9p0F7YqjtFhzN/nMI9MExnzMUCBxnAXtvpABKcm3mz2/4Wnmxpjkg0ODedK540/xoqX6SBbIBA3kmuhPZ6mTXWwkzStXH9gm2Y8aML+UDXrvuim2Rb5GC3n6J7mwUNpODECpFQxZBqNOCeFxz1WPqW8gzuIlnkhXr1YbJfrZWjGsEzHtF0StkHxbcvAfwTSGwGCpD7vtbN3Y8IEdJO2QNcm1zlXg1tqM7tvcIQlzLrxTluJBUNBry9gD7spCUahQVxuQp29+FKKNybFS6dSwrIXzTP5wPFnE3WlQZ83VYqux0WgMdQL0nCvvt5PTNTX4SQPsZBUyyFDVm4mOufo4DQiSnPDbtj+i2r7TOsQY+g3GU+cc5rSmbTyQ4kjgK94Vq9QdoplNkIxTyo8tVA9w9p1hVV2qC51vpw7SRoYjsPBFSr2aiSd/JUfRVdLJSt5fwoU/62uuzIPH4vH/sIP1XtxtstKqKLlHAkPp5ylp7t6eK00MsQR56271+A05KfVaBbwusSGVrLG3Xe81hPgepoxUvaWA4YDHjdZfwahhmivzZJTtRqxZS3eg0WUOQi6Yw7ETuFFn5t4mWKn5Ir3QVTKssOvIXVJVYcXdOasFyU0hD2THU5TH2J+bUhILl5MsIH/HoZ65Otf+ftvdjId/BTafVfKO9g8HmEvyO5stMOxplAWjJj0egXl7JNTRGKCR8mBta9wMHOhuuzABxzT+QTrDatQaoygarYCkcKkqSKUJ26I6wdwvPPt9CaS053/i23jgMhzNdS21CbgUgkgBliKXvAYsKM4t/2NEPLjao9qJMdW/yVlW+JjiS/pRo4TvGbimP77FfA2n3tRxMIE90nOJTbca8Ikt0dp6SSF0RPpGODfkuQIHi3aMyJTipJ60uPo9L41I4OFrVAApXg+nbVJIxCMuQ2ULyoCR132eLL3Ymdpu9hk28WeYmhM8BCkb6fpt0BPVNKimovO2lJBicr5hZFTO+6dxnUFJn5AnRZwCvd9mwMIIaaEF2dJrKxzayWCqmOquiQoZRU/PtIfrzOCWOqWhXT23RMzPZ67kacSpdvV1WZ0xF0Hn7O5n+qLq/GYNpDK2nBxcGWqb36xcZEQDS0INJNsaVwfq8wH6uZF2TYLoF+POsccxEDIzvo+0cI1ftFvj7OGFTErau47mUugbwdHNR2bgkU2jKGG06xXdjpuRsqyFLZp9Y47JcBpmg/Zr/bOWYxNYa92zy5JcP/OpHfdpLtrCy1fak7j3Rs8fW8fhdS+W23Ov/CVD5Srd8lgBjLDsmeCGip4vxlIOH+3Pldoi2bADMsvQU8761eVSgDUgURvQpLx30+KMc+4H58oO07YF5b/QSwhQBwALFSK80ynda/PHlAOX6Nel/IsaT9Bz8cM6R1i2WOB5i8+Aawo4Dm/iw2uo7CaZJQSl5Vp1E1rjiGI3yqErhcOdrip20erkcil5ErQIf8l/KflrEoihHpOzwzweXFOiry1f24maAL/zYZhq9qJsGd2IPqQNB87FH4Z2UueN5zDEQ5rKIkLdJHqOXJLm0fZAMGe2tQ1rFEt8reiYL4BOM/nBrW3xA4JeYmDQJkbovyn10GOoGiRQDVxklh9fQtZ2TY7cKLGiPragUXeoc7uGjUWK4Spdhep1KfYWs9vZt2am2FsLA3QUTy78VvOHYkfD++wf1FlGR7fG+1OuRyjrNNHQg3DDOlGVqgryPsMm/PyVPk6tDYequw+vkbO308F5PyIyJG4+fih4cicODeGHUvp+xmpO1Pqf2oAkBtjvz0cDTFLzjIVQVRNHXakdLJKX0+tM0snnuiH0p9Xz6G3pV2F65Y1/KEhmbzQGBx+y+I0L4IJhqRI6SDNVjBDbErVv7uJCqPm0XXyR1gMxASVKk4QOXjhyejVcELOA9nak6Xvw1TTma9crN8qC+xtCwQiBM2zpz9pE72seIg8g100SKWWfjg1m3li+iVSw/CIGpUv1itELBVOckWKaXkuJCDhmVBh4rsyRET84pRAMKZriTBtivkew2BObiDMQDULvzvr948PT+ktkK//TPinsvJ/tpcbSGgnRbuanMLyHI8bH9+SzyWP30WURj2ZHwu/9KTszX4r4gebBbkJminjSEYZ5Wmule3oD+ftkSFLmhyHuPEcTTp3DfCHWCoj3gqU/mQSF0ZyFVL2XssDgtnQhqS/VgYk7n7XO5ZfD7nAbPSqnrKY8FzDReLpQ2/dpImUOBJfGh2xYhdC3Vrt7lN+nJkjSekIbOkuc9eb28vhlOdf7lmZbIc221EfR/jHXtaoUD4oofKd+KNGE4FvZyXOunGxm8QHX9QsjizBHQCUyjdTLrR6VbZ4qbSuarMPbiWTC49Ifu+C3Fl0HdwcPlnAgA5P3la96/S3uoQVBrl7gvCP+zo4zxRHi/30PbfQhAl9BJ1cRYP3/8/FqgMXISR9d85PgoQ7a1dL7YpHGT1dPVARnKPByI9gP6QpaRYyjQPxr0zsQaNjpQkoaOjeqREctNNX+O252kcX5JqF5ruFb7HP1rqzA+Frl2ZGk04DtrtMbP7UtGNBLdUqxhH/MimiWGJJbqckD4cbfk4S2hNLpCy9CGMYqKGyRJ9ZeP477p8+PM62kRcPSBSiG5G2vMDHooQRO+PHTftQs3EzJBAD5WNqtQOV9fk1FLx1OPRkfombxJf6ni1JRHrPC+mDSTaUzQ2hdis1CMoQ4cjEDT8l4kRnJa2Io1YwYOKwakU4VNsjD7/W6BuCrjSif9KXVxhOwQu7P0JPg98YOS8ixndITUR4RyYgHWRNlcz8hHfRdCVuMpRLz/bqmMKa5fCgYt0gGTjl2XpxLRhk8YN2VHavWjs9qiHSnMEnhc+fdxj39jdxSiWitYn6aOzZUm1HKIEDRe/vZkQEFJxqFQftkxGPiDXhnXBM315vsi3gN+n+zEK4NWvEjKc4vnjk4OJ2yjUBfggGlKKb3C0Sm6lIxfinPN+LQ7n2nezkksKqc+vcuinAJqXgtXYdwZ0k7OSQiXtTLO12BnDKI/i0sgO587fF5uV2Tb4B6d/aGg/iUh2Feu5X8iRGFdROrdNhWria9RshX0YgJbaVjFeEXxng8JXcsnX9pY5M+pP8W61IksgaOiMqlyb84MVzgRHSfxpFlGggR5cKPUqG5sylPiGluVQxHCKcXpJR6trTmeDftcFb3HTWdUrzu282rCUw6d1hNjIBDAr7XO61bF0pvEGwq+7FgHsPffgEejhCBVrXSVwjye8yDCwel10EaL6VEaJYD9Fzw4qFnGsgoqO89z5VrdfAjinsq9t8d5QLltdI1qIfWsQG+0FYCTB05l9UzT+8XW2ae9qPWvUfGxrdYe1w+00Lyr1X97eUonUU3iIFQJl55B0VFm5OkxGoioYSgA95VDXS/LApvz1znHYYdgoSkhWtlzuAXHO1+54lkVaSAS0u5XAu2vljMRo5vAjSAvqBw6HHmu4qdYNp+2A8NruCLBK015QikRyzhrwTIOquyEdTSPi1Mr+A9vInyCrUHVMmY55wUQr6UfOgXq6Gc+WeXDucekqIMPfSwE7ULzLcKTrrW9vgIR9E66rg8PAN1dKAQ78ZoJSyn3lXgtQXIJmMMf5ZXMgflp+H2p7pNhlA7iNokfSfprN+2yqQ0AeS+64pRKQoaD6uCsOT2XTdvLEh5W4VE23v2qRMzF4GJBmyz4uRWRFi7u67b618602Rh8ZVnvpP5TitiX2UUcVlmNsKlqNFBMhTKrSTQjlXC18YWboplg4wuiEpDMwcBo8G/0pVjQnNyjrJdReCZr0cS58THUXGfpeji2wCKytDTeX+KTPkmQ63a" title="Mekko Graphics Chart">
            <a:extLst>
              <a:ext uri="{FF2B5EF4-FFF2-40B4-BE49-F238E27FC236}">
                <a16:creationId xmlns:a16="http://schemas.microsoft.com/office/drawing/2014/main" id="{3DDB9358-62F7-B7D9-BDC2-E16E86B30A0F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45226" y="1979135"/>
            <a:ext cx="3240974" cy="4853688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" name="Rectangle 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lIBcj1AhOaglsfnW7bJVNy+Enu6UK0QItpF7Lu9UORcZ4SlpnUax+QPfM/lwFPHVSHxaXXiOwGJHivZNfu3EK3IuS2PnGFcrQto7aCqTO1ypfEMgTPUReVS9BsV25ikWqDqRKg+mV6HwgncixvDD8HTtGZHyEpTAPCLjjcvOgb5daQA/swa0yE+MUHferIGtuiHQHAfYrrPp5qXxQU5FNFII4RaFTwKiHE0Qq2+zWUCGFSRUkUROJiKWgayH0tLInZs2WILj/jfWKtYP80+9zfILe9ZLdE/Els+OtpYw5v3+ZZy1quEWbJkE+OcZpEoS1cOrGl/PkC2Wv0b8ur2zjEYgClJB5bT99uv67LQBjyjtlnJbIwmZDJ9efeAmBUzyUEFHu8jIcBOf1BagVTf47gQwbd3yyEDdsTqjIN5yKhyvWPe/xW0R+SIb46I25n1w/wIBUsX+zw4s/6pbiSgsWFZCgP6TKGpq6QP0ORPb8PbUQ8DpO0m2llPlqFl8Gry9l6wJWohAxrBE5F6VEoN07FlirxsRn+Q88jV9h7VbBnrmgf+//g4T2CXI7Rcay56KeX/INBxtKknMQ3IdKmtvOTT2U2mhA4E1MVradqrwt25zWn8ZtKBV/QXImkVAJxPYYFLaYs9DMoXs7/6axrKJcIlVIF9IhVFlM+yNamQsjganyruPTOlwjPskmdscOKVVKvEQtgPBVSWvLEPiiXUbt0ER14UNyaqLuJlrfeSHwsOsfmVfXY5m+D2fbjeEO07N5sF/RSfMeKGdqZGYeeug4bc8QHX4gEIOmsvPVNmyrG7oFgoUt23HXs6TzhRlCsFDlaWwCbpNBlAxr5QYWOc/nq6FqFb/VIt0qpQhr3RCZ7yegJ9yzaMaBG1laO8Oa1dTFlWEhXgKlwVcWCVG/D1OyOABnXlAj/45gfL7lgy3uSwbsu7niIz2Rr47A3tmYuC2WWSAQEzJcSKGF/kyN8vG6dHUf3CrgquAk7HSvydlIffT5BV3cTCGU6pFdN86+E2Blb2t+FP5nhhL29TrMli2EtYQiXpGvGNzx19vz53+Ir442+C3t+dQi9sNuwPUsGtHCKrseSjmMymFwA9qCkEnXHPsOjeWo2Co2OaSf1ipdFAGE4oFrmvI6n2KMeUfWkKLM9/J9itneOPwyX38hZI0o/KFNtPYqTHIw7ix5hKeMjtykV7DVy5ZX5VDyElRyfyx3qtWoH4iUJeUXZPHGF9TjdeUdHxZOrFbEdgC0Ge+lokPfrrXad4XYdk7mlaIH9H4HvD21VD8ARMVacRrL5aUcBJjMbCjvsiDKLMUXabtiCM/dKfAFWH73xUv+EhQ5yA3hzayxW79tjIxwq7gTj0/OX8gNO4itEKVh05xRNsUzzc3Fv3BMn5jseQCWpOqr2b0rUdbVXnfkOF8d0POwE+amuwxDFwViFcpnpW7qm6hvKSB9oC8QcotrSKK1GFrtVaqu69xy0yZu30R6Jg+ufJ4TuT1Ujkl8Sis+oPTfWA6IDb+qv07iupksEbkouYOXMo8yECHa5MQwKf6q6bele+4bWJiTnlCc1Lwq+f2K/e6zo+6QBP+plAtuid5v88ndCf4xoJWuaKf6aN2Mdm6iaT3M9g6IUMf8ieYliQWPjjS+3J9FewD35Em8eNmoXZEoHFK1KLAd3DkFKK/Z1R1dbZlIYc+pYa6VYP1Hxrsh9Rk1gq7f+Mhod2UuYH3nOl3iOAbGdclfdSROyH9dhL21EG7ATt9YjLiolMiGv489Wt++L3Tejk/OAipcWm/CnI2GZ3f6JJXh+0Zo08Cm6H/eaJlRmzMOeaZZ8xI6/sktPbOs/uyUX9SA9t9sjSd8RE0zFbk6zjIilxCt/rFWPEAt9kpNrPRXGULGxCjUs8QdqEBtF169kCJUHpPxPr2jyJjInI9DC7dhLIVVtxGKQxxnxL5BBwlR534p0nYhN3PMgOV51r+UDpRfzO6CRskazWgsn748qqNMObF0aaxmLpIwMzMdYyOSGxzJsNFuXTne05UhNt/tL0DSGLcxqhFnElI76RZZhPfX7fb66+GiBzTSfWcaq1olXWIj3h/KmxSXkhZZYBZ50bXRy5iIiT3G4WjeJMxRZAkJ8OUSw7xsKqOQSWF6wjUmU6jVuEYQb+s0tJWFZLGCJ8rHA3nx1Ri+G2wviI/dIGqxZxHBl8VkPiLX25b4s6r13lu2G+lGAbOJdWj97bqlog7LRrxePp8NOvie5U7bHgWOajXUl9Qdf7DEJTW8eXB5DAbEw8+po356t48XolEy/Niby/aP/O345yvAKZLJVKDyzv3YATHoRlPj4oUII/rSpJh4lMdiuQEFSiDBas08DdeHJg4eJfxecVYwr2fenEtfD7hHjWxeR/+sdXVPqfYl2a4gcCHwCwOOaUjtiNVf50JWKv0QqRI+d8mMkkwZQQRC/C6qnJpoHAkxTEtGmuViMg8OXZLPEMr9ry4BKuhnzSoctY0pXgYciyJr5qkVsw5hzZPxLYNP4mz1iFiwbbUD0Hskwy6VxdXSOPGe3/VvQ5/dLDiz2Q2JwRGd/fu4V9gqzWQAnj4cdQAGLr5XGy+N3ijHEoFXvPEh2sHJC5D0Ju/wXbe36hZ7F9nE1FW41HCC7viOn2K/13l27RWCiGmBe5U14fp6r59JUeaWB6kWCYYvSJn+1mxlBl7ZcyWG6IsTbWPlzmy+91boulCXft5uQhCsunibRNY6mMpzLZZEfZzMwVZ4RSBKQx71Y2rDy8SObQ9xtx+d04XqyPdKnegEwWGSrOqHlsGBx2P/PfF/blswf+Pr1If9G41uyv+glnfQgCLzMsSS0zOq3gax660IJXjOv7ptpROGA/k6ZL6wqMAJ6BkpS+MBSd+2HPdzmTxwCJNrVN40BjtQP2ifw1a7HrbGviS4d1oFAcL0VfI1L+r/sjiCS2IhdSnUyABzqYdS1xmUQ6S6fj0+XBn8yi8gWUpGPnss3w4I//ERGvntFJkaOeV3nzZi9ZZ6aRJcHIC7hWaaNmtDzwRIU0Ef46jORZODqt/iRBt0uVLCMxWtNNF0R/JIhOBMnWX2jn4CBl8S9anDo0ZltFI/STDN4LndWgkRFQF7BdF/4jZqnf35QnyPccAaGClYhNbovgnK1bXsezqal6v4/ZeNWE6z8H5DFTvMnq8sPG0dTE9je2JLIsN5UZBTrxXt+L2DYjn83lbgI3HL91dnGK2HNotKQTj/Hr2/t8JgbYlst+NSxYbLjhSpCBiN9ob9g0uQ/fNEiYTOGKJWEjlBR+nAxlxVYVFpnttQAHtoWawDE7lM0pqvGOoaVbWARGaw66CBfRqeI88R+9XEKzS7D4Gktl/8cg1u6LUg5UrS5P4MsFotdx32QbakNsjkg9yM81K0SvoVntc32pIDHhEF7CVOMMgidIGsASvSK6bAzsDcrBhvAMhdYWqICDZq2PcgliTXLo/D0OD48dFl5V+8cOZ6Jk+Ydo2pd+RShcijvdElox1dAfjjOVgTDgztxtOhhUiav86unPfubnWlnckEvXTuHrTaU6lQvWmTfQjIQ/QGu1gDPPB6OJkb0enQgDlTmg83/oBbFPQzi13AEqe+GF7CCjlcFanLdRW3Fhew39PLJWYwxLdJsxvq/urV79nU/uBKputBk4t503D8pfmk4AkNcensZSnGYpmCibgYtoOPpWvXU30byIcW0dsfnA33jYaQTYornO5aPlifleIwYDCvX8qvy0mRhpq1ia2CEmOPLt8uFFL0mN/7tUNEcdCr0dEUH2RyAItQB9OsZCLRiGd2w+O4IvPPp6u6iHsIYFwHsMiDMa1WwCt9GTi70g5IXBYrnt5qOl4h5Ap0WAETdacQQFqTquUD/QYday+WUdfq5iqsb94mE5d5084+5vOI5YmCayatkLECOIjyN8PLMYOvg/9+Na0n6zRm3AaJxIQN/BW4L04sfRd4DMNttxSim5bl/OwMoyCH2n2acgfSIeHViyagIPqtwzbDpBDd0E6AdlZiSHQOy2/g6hghunHGbFN/tjTYgVQ3v+ZzeXcmi48ghMObzQhJw7qHIbOvBJujwNAu0kQx2Q/GXbjIyPcH+H698qBkDXE1bVn0FbYjWhrA8xILi+nHd4n8zLMdeVv3WAF25BpJLogLPKVQ183si+fTn1l7IZgW7UgY1t00Eey6UpWnF0tNdz5uNrtKbCY+fKdni01bI7TQJZx3dVLTpmHSie/i8CTAnFiuFWRycD5HghwO3WY1hL1zMG6xfzja/lEy+OJLQb4KadaD0CP+Kn1a5LexAjnpxWftDKSHtUjwVazIQbfh3wr6yz5AbT16lK2LfXgCWtEQQEaqhoF9s5ri3uNm+6YowWHKbxRIg/VL6wmx4wtuT3jadc2m5udHLs6j8Io4y/CALvP8qCr9UV9vGy2MK9+pmqR56C5+LIFUE1nhEaJcxtbDo3jaSgm3QGBWcyTSioHBZxAvAZVuCtRf2u5cBwQ1ccya5SswPZpH90U+ouVN6oz7Y/p4djhBKS2vq0NdSPb1e/FAG8KbPZeapzh53QwneE01Y65ZkIKWDwzDv23xcRMv44u9l1kBg8i3RvXuFrxvrKuZUcxKbCrXpnErSrAyKX8mHz4iGuOkoA30tivbJoQ/NA9st05KB9o21T+j9gmcwNZmJujWtBDepjkFbFP8VvMpCED46yvq9e8VOWCco+Z15qrZk6YYaD2Vgh+V4TBBecQrbExYPl9/EfImubVcEdOdZCn3aNsoEFcycFi4q8Eh4pDXCWcj+TlPxFrRzhvE53mYrHURpN0Pq4lTCa9gugD3OOYwdXD+tWIcztaPazbBnIR3MKvNYBxhTvzs0xKRCS387ymaGNfEpHfpgeKJNiT0ngkrgerKGh95nMU3DS4xjRmMZ0+7oG8Af36CycLUeMTw1Dcr+RDGZpOoqKxYSlGPoh02Rxxx5N9vJxXOXhmMwppMM3c+5s/hb1THWXo1S/YMhNZaZiON3+xIELGjIXRzCvqQTtZU2Tk0sj7yehLffZunWx15lOwkrlBYDOklr1Xxwwt+pVYG7P3RUNsU0eWQZAeywmQcDEVuD1zTKyar9SUetmV/P+R+dnyRuPD0kn9OvKolGe1raL88VQA1p3sAbpELEm3xR8JfMCXeE9/QBA6xW4xFk4B2o7YfqXbZ2b07qaSdlASZc6uHKXF4oS+NJg+8xB4cTWIICiiRcuMr2XMALOxHoxnauAFwtM6aSkSpZoS3e1nlh0DMoVlvtSzMBd/xmw9erUMXm84wAv2s/JsYzTPvtB2mqMwvp9FWD0q4tPmbgd+d3/CLRicKXf+zJGUneK5oP6Df2gbFcSztqbn7Nd0q/iQb7Z+9aS7Fk4qpTdVkInzqkxwJHZxzp5+xdVlLusJsZk8oFTgrFxmuo27Ly1FwM7B6jpDFEGSyTzRCBKJ8CZzMAPePBflO6q+ADsVlwk/nmVCbymvm5HpZClJB3uoPvBx5+envqR5xdaqZ5hjPOtV6bQgRPAZyxCLkGpNAxOT6SR3x7cQRmLMjeGH0DXoiNKNa48NiBgu25+YVrsQxHxAGzXAbPcsQU1LXZv6cJD4MjW6aDNA/OoOLh2liihzgc1K/Ch3HzIlZLjUotWG3OI8NUHnxXswNBfm2wgtmYD+cEeA6Ax7VeBFT5bkr74d9kMG4c3kwIe4V3z6v8lyAJAw9cAJdy21OKWFjrsIk126GMN3Vmy2qgGun2Oa2P1eiPUsmGH0jw0NmRM4BO2YVqpJfaS9uZR7KHJoZK1ZDlWaOrGmy6ZZbsePYXmv9FU/mJKsocreUNaYTtjYfUAjEDgiMG1N9nDlz2ghFmh5nIQKsc17W7rbNmpTpBxFa+Jr8NxiWEV3pyF8X4vOMCffaY+zLk4CJkriDjstQWx5dwXvvSY9vAXFtUYcHmmScj2jrFluOplRD60FIdlM7G1fmM3/F9emLWc/rvi49cLJGwVn0maglP7fYRUpxPdQKZC0pV8Jir7TSiTWn3hnvR2K0gEgQ19Doe5aYe0NxUAjpW445qDmBKx913D5wmdQ9VZbtGGg1v2ZU2ILv8I1DOpJvUR0suPa/rBDH+PfWH1thaoYDjDeQakq1wlWX0nxfb96aGe1uXGyB8wp8NoEenmhI928BoyMahX3y3L0+2qUYZ1rUpl41SdKuIGDKaw0vGJuHi7koHkDvyrpwNZLlJtfpp3456aCvvVqx0ob6hvKwIo5dgvqYRgf7m0Mpb6AYuGh3CarEpYLT+YARC2RAGfS/BNtRV35RKbNqdu4jyii2yZFbOYd7lt1OQaotkvbvUt5G86H4oPyonSET24QJpMyGtt3XZmTF3Y2N7BsQFjJjSuG5FjHZh1Ds1lRyXMlbjXpVeIpcmKD19MEA/OChoOFozvcf19Ag+S2EeUmtWHq9fYDne5OmVE6p3s3amuXa6zVFiIaKTnlyl783D+waLmatBYFSpNUz+vvR7F5+iGwJZvDN31vzcbLNsaQPdTVd0PKO0ZjY/RZddeDspQNdq5VqJr/HBQtgqcIhzYo2vsPlI+QDN8nDzOsjuXea1qhK1QuxJPyZa1co8B+EqzJ+8yE3hVU3Nh5+ng5m95GbkcAcaaz5JZB5t7uh7Kjy6q3hvY8vZG4OAffCh1JHgawG1qKhDa0z7gRlR9gf3bEdUL1dLFpUXv2l6SWNcuuvtm5jLL+MSXfw71x1oSjdkE4T1ITCz2WoLQl5TbDP3iTURKq8/+ym2A7r1+xK6YQrfj8aS+s5uVcy82tLGyUaSvXuvzhN5APc3+b5plglh6UoNepCALZT+z+69MK1Tc/ZB/oiGpPF+ZYeOaoZnwmXyofXXrVf6MxhVvYX5HaabmvPQ5EH52h+nXbcpfzgPs9H30GKlgbqMN9rxfLSHXC67rhkiwWZQFxXoqUocXrtfAahFJzUy+Gma6R1tRGVbuclLx3M8I2sIxSBdFB5/2YT4uMkow1/3BR1JXoyckAUpS/BEcsQ+rTExcuClyDEsr1Jc57nBSxsWqSpw4gCYaDmSSsYTn+nzTb+UPoQaOxzEtjrGV3StlblPv87dILeizqm7bOQj5OFk4v6pOgbfYp1K9BAdQDUcuO0EAHBsxJEcCJqyhKsxzt0YtOJn/CfLBmVFK9CjKg1tfafX5u9nrlGP1mB/fKynMTdIkwpz6sY2ww2QWga3AcMIWtee7S7/FCDDG+EgOBZN6ArZbBHnbAZo25PgbenY2486gaP5mac8BP7/BAGK2EhSGuM5AxXzBAi2Qoou7A+E+c8A0oSgGRbTDuzw25CG4bemWJeqTcGiwTAd5/Wr5es4j/07M6D4BF+7eM2Ou8Wg+Lg7D5rZm4cOHneUaLd7fn1si2hdtktjhNqgpHH+jM1wdNtaN/8pyaP76ow5MwLENL4Q2m1gTCyCR8tYaDccAe29aP5JV7XQeWbVzjekwOz9jCM1DQODdfj/ptKrjPnOUEryyhiJuBfilUYJA1TyFNjlD70PTd/yeDISJUjUJ8QDyZc4T+9GeAuM+kzYWkLIdeLdQ0R1t33rRctlCWUxT1NX/Wrl1Az3XcH1+A20cLsGlP+miETkq7gIwm2AB6ivhCVTGp7c2itmD9J81Y9ma35IzqvKAggi8NQCNmibqFh/429AUHlfYbmbL6AYn0POFSpavBDs37ABjH0IufJWvUWxLRUZ9WHudtQ+c8L8vk0aLbhFh+nSGWukbW8L6Myr8r1K3AC1yNMViEPK97L2suzfX3CCT2OAMRUmsXvdXguRM5HEtmRc60bKQXV9bk7B9HJkpdk/S5vP3zGKq7hQkMIv2/EWtn5wjvtX/Cvkr6+cjGJsoVj+xYakCIxNNlZpRdg9EceP8TqeIxCsmKL93eTUELvqJSfuD/J5e4BWar8TprGVqLr6cgjSg6fgAZ7IqAyI9Wx8Z7FxLGU9NzNnH9a5aS4o38Rs+BpxQIz4CHf/0D1DnYHzswO3BSsFtCb+jpTLsuYa1ZlbVvBN7xIv3rV3DTLnLZ22ZgIwjqauB0PmqZn/VObsfWR8/ylyLvQeH8huWv9FA3wOr6ipPHJiZaC1FE8GcdaN2dAlwx09KvkBEzv/qhx8KAhJb0IpSQ0l9HJm5UvPKzgYYtHFB/Verxi9eZgVLqMxR1LoT+yKl7VQ1ygGgujtLyEC1Ca8N3OYfg+HE7IZ1AaXMv9ytFlsQeDvyY1rh2l/ECEaWTeKH7azbEgHDnIe5ozSrvwG+fJGU+JG4TpYKYge4io3p6WtFNkIQi96yfTPO6TDrOLXfGNFwJafn7bYkw4ObP/0d7pkG1hSvQPO7UfG4EXdHAEh3miwTK5j6Vs/ypqjQYOCoP/+1Xe5waBXuMYpF72HqtbwXZD57837qHnhtG0fWxJLlGx+fPTb8o3fm9uAStGfbdSe8e1cNsg3EaP3fbiz+NsVg0OsmpWqmp645MCwoT3J0teWTPQrMO3WymtXRNrv2QGFzSCZxe/x2PnqbRq8Pt2JFL5IP+C2kto7UTo6JlFFyge7DVIUSOGveTFro2ZjjhnoK7qxJs/9xwb6afaK2fvAY4aKqfZ1LdAH2q97b4d+T+6QTlugu0sg6KaAujnC4vm9RR0j1u17Pl4QC7qmSUE8P55XsMrUNnnlL6YwFMYF0MmcaAPqjTjj7jprEF8t3/PBdB7U31B804/ylZwy3PCPKFhUKIy1ze71hQT7bLtCyj00Q5SoV+cLyU6H+0asR5FOX2QNNVye61xZLrv+y47LSCm4w5xjmzYfn9z1ISgb8kqKyuAqcLPIS9faGp9f8BCSP3qIrBi0uIvrh9ZDg+AY3XbAmHKPdka03vf7g8ijTpcHWAUVHSnER227an8RgeLWstW+ImrMPFLSRJDZSsltdzLSqjTAt/dEY8l6rwe3aHF/T7KLdCawnxvDnHFEcDRfvBhsFpY6njV2F4VKoLVFv8+2riiMKA7pVM/e6lA9n2NRpH16Kv3aBoOc3weuUTArMkY8yoOZypznGMz8KiEVVPTxPrlbO/6ya6n0bO11n3rFWhfeh6Fe6ToLoeNX7o397ZV6hG1ffwfAh7Hy38xrbXqfP1RoAl0PDSva9GZ7g5HWUu55qwegKo81ksQbcfqz35FDr9AnfksoWColmvD9b044YYGUas7mvjM/mxFPsV6R45+a2ZSCbC4ymjx85V0KzedS41nLMaDCQQsftrRpgx5M98D1HWRpsUIeWvq7PIbmfim9khwZ1fTVYASEdpvkWZVWwXih2SRqxmuR848HA+4uuD9ugGhzNGvg4hcBW9Q33hCtO7MTNQnTmsyw/P3sygfM9w5II/9i8UWs/JAJAFsFtwCvIna/WzwZLO52fzRPjT5V3KZNbOixm/ykM/ujSLaqwApQRd+faa/Vbi5xcWFRMTb9x6zC9sIoSwzxG0a3BmGgBO4+dyDPK6fPqQSgoQUw1bVC9/zeVy8oZobzta+sTfIkZoBz7pCAt/eNVJWUjB2whv2zcVCZUFfH4L1tJp8B9lEm8DjM2XK0ln4eWBjiMVqUJhGKonbpJULulBJmhiB3wQXB1oKCjxAzPqKifzTRwL3+dvdLkdh6E9De3CwTzUawLJJa+6IEenzMamtooSkU5isZcY4QxMHmmWHnmr6lRdHjnVY5notkDErrl5Yi/YHbmPFQBBGZCDbmzjyDMJA4VVdRUQYVfKsnlx/4i7Mp9ZSmMBXxzcg+8YZ8ade4NFAWpfef/MmNQPkRMG0sjtrEoCJxgf73kxh4Mel9j0gIzIMwXxxoASsmh/hJTwPb0oYLRr4pK9uDm6Gy0ZcK8mdn1tNyXakw7Tr8ZpuRhKK+OKQE4AOJFV+TZRrRdBjyQnWwH5RfcOMtoMaytHuZFCcpAZXvw8vAFoK+gOTzeYEbHUqnIHro777rTYP8q6vkJ/x444Co9R7LYZXp1XgP3A33exFe7ziDdYsvM+FOfaz8HcO4bXDRgCMkJbol2LS6hFkxSFHYqkuaVNJlZ78/MTAS2mUlShk09BAASI30Nw5a43tXwa8DWzbybRfDOw4VjwBnJF9atfkDXVKM+Sm+8S1QMzAhukpPw16DCCkY3j3VHrr9TMgPxQb4oRQeZXjgCstOqhDybpsJAnALbm5KkUOzAJ9yX2zSDjtQuZNNumcTirBA6r9cr5mrX/5moN5VWVe28fjM9tnef7j1J/YAZnBwyOrwQkgfz4bYhvi9ehy8OcccyepZENlbQD/0FicqeEG3Kb3CHvMTq5Hw2AXjJ8v2W+cPHq5l527fB74jyONW3dKlaLw3ZLsKfq1Cj169ZsYUgy7UtEBam51s6XzzR7pu9zPpGs6tKvRllrzZURMdxQID3rDFWF8bstqd0tm0E8Egv3ZFVCwHPBdSbrd/aoWDSiY1MticztPeCkfCy4UG4MEeguE3hyHaJbibNqs128umWCaqUK0lUoKovEqLVutrlv3ITnKWEGwJVS/MwXULcnvBUI88EiV3hIIiFf3HpRz62euZk3MZEBP/oEGAuuixdnosltV3GdTKeEc7EeSTHNh3UnW7F853i54z0JNNqyys0lZqm+tKCjMUmHARgcuZA4hjAxsj7/I1fTXney4vrNx3HQFZJaKiDqRCy2tRWTkkBhA47bW6cIuPfak4HD7lcWe21I5jlTx1EjgYmjCPXJFawPn0iuFaM/xFum/zR6ZLySL2K9fKQCrMB36Vdz2y/HOWo+xRj261WeR4rcLhrUrEiNjL0SO4dLr+0vqlX4Fa2OdW16wtHQcdncP4i6ldSYCcaBy1GrYUaPkJ1IgG6f3UqtNbeeRnBaxadgS2kSFfY029I7+XRpRIvEXY6q9w3NAcA/SOHTgCm8uyk9kSKSbEQVlMt11UQUIiwOOhwrTiwCI6jMPzoWnvUe3qZOWBgHTibM0s3Ydfu7J3qgovUe+XNzzOrDQFFvqdEKIsYDE5t+uMn8z9SDtxR3kG/V24NGXpJlWzeB5otkqTwnX1GJjlsVL/GUoK3fS5NLIoGxOueATx9iJQ/f6FEzEotOxrJxGR/Vbj7EZXB1FHiXbQuS0Ee3mMQ8LDQvpat6E/eHPX5pPd/LXsigeR/kXu5dWUcuU2Hb9nj1rMdIXsfPwyPr+mGOAp0vxVt53ci053adx1bGoFfy9mGB9xDMfUl/YQN05JVGiIkl0TVy9ekgOolO5LWhR5h0++YrtGj73XzwLpfrCaH5IHBhTuU3ur41fZlw6ZKR9EWlYZO9gck5LLVyNmER1E3O0TsZnMM9y0p/QtLrSPQeWMlOjUfvY62AeWH8X1Ee6+aoJlXaYcWjmg8kge9XYnF2r2DHq4L4XkQUkwOB74AipNqTHTq7927ogbtYuR5lAE2S6H7D8lm+qVUcBhzjrQybkFLDsTNbj1xjTNirbxZ9GzBWzfZ5aghjFFJd1mDEkvTFFXZ9kabi2puBL5UcVEU9i7FewUkauIlbcwNSrVebGZ3CrpYtOgnwc9jNDhzxZnTZxEp+i8nMCvPozfhPhx0R7goXQK8RgG1w25ZaOuP8B+r01Z/Efj3H0LM6ur/zQfaifAbNzBQZgu7QzMPu6Njz+8yvkTsXguraQJ2nG4ETh+IksrixkNL7nNH9FJSev6r5rOXiMr3xP0+fmuFihlwq/MN5nCmMgEj7Of+byfe0HS4YWqQRk6cJXNOveDE/itA3SC/WenmPAgIVVHTh1mecjPafK2DIYe6LPDvXrD1r8dn80unL8+jE6LrimtPcVhB64301ovb3PADJePuady9ZWXt9rnl1H5OjBM3ACgwQJ4Rwpplu7yiX8rqCH+bx68Wz1D6AIgfH+b4KLPAY68L5EXAjNvIpc5mm5d0NwzIRSiSsBVaO5ae1RLNAI0gUhgqXxvmVsdC11wq4zE4u+p/0quOG5Vhv/dmo9KLSPaaROcxNw+DjenEtBIyvd+uMJ+bvFsbh8fOBHFfe262Y7V4QcyysehkPjzvf+nnBAECF5sKIaK6N0i92loyOFevfOZT+1kKCJLzgxjrdR5AML+q2NSIeuu0EVAdALDxvTdMOyVhx5or+orDtDHHoaCiBoI6Y4+wJPjtFxhfZKDmhPde9+fc7fQmsOB/0qTsMbjHQJKLX9ZOyeWHQxysaTXrPAY2IJXKi+4hSKUXquyiZZwF8k3uISbhYtagPZTI9JjsrPq5jQNsF8RcxKEWN+BS/ytYULVjNroxcyTLCp5WVN0JpOfTjRORRkPJBxfXeF7uqM8+89t2uGRaoyb2vPRzVJq/QBhEuVw1jYeR26qlgResv76kvw+d6BKqBvcFCQysISy/a8g3WtJDuNtRAWcsUkuVCN7xifZsWb41OaNbu44VtqYbwF2HxI549cv2hO+cgYjUMpC+w44hKEjqlmfVd5qqfpf9aeiqrX+muMq34cWTgU3Ef2Bsa1PTGZfz2dyoG/fzE0CuHSIUTZe/1l/od4xYAtrjQxkMjW38MR9UV+CaeOrggkZJpHGih/pBKdVH3HrA9CYb9ACFkduhFaIKHLYH+sqy9WEnRxl0x6y4HI23dh3lJN1s7Z0s/KwS7m565eYriqb+GH3aZgyLlBawixOsmmz2y3eV/+PyFln+xGyTZ+1JdEcL1Buboe/mSWtRaayJrL2w2QvqwOzJwNKof5+Gaxixn+jxVAxAyKEggQbxSeuIAXip27YqdTh9vYVGOUk0zjm3AEjm8TNpifN0nu2ph5JDTLtM2MmTm92NbXwX1mt8aXc5A5cXXmkED9ARupnsXg//qNiTNJI0FGph54z+kGyaIfdFW5zw645+4vvTm0seE04/LMj2AE784RooMmJsGERD0GWAXvMmwsp15PZqkxPKgXqSolCbqtB1nUchKRVUwfFy4dgcSKk/BwQlgIgeVZUveJYJX4louj0sPYLa621utMI76qmBk+cqYRa3m20DiPSvaLdecEVv55PRMULIQ1fCOAB5PVuwmoHuqI37NqwKw5mowBeHItRLY87alEsNyQoO3yuoVMtFyTfsZl8KMm+J3STeuv8B9Vrw9DGt8kaNZDRG8vsSpI30fKdJlDbcoJpI+mnfMBBB4i1eR/VQUwYms3GVGhvTo7N0/7wIU1fyT1rWbaGIqUBmAu4EXC9dFZmnKBtz2SJ5MMExI/qxGegN7vG3rpmAhLuKy6EQq54C9wcb4CrdSWsPmIHGcw0A338wwwT3S7BwxCExuVe1K3IE3ojCCuezGgP+A4pr+Ys/0HdHQv4LOwcaGBhBKCQPXzIxd+zCsybC8n6HrMmdwR7rjF+1mpeLmOSjZ15DQHVUMsGk+448NL0ChFWH/82MBaLq0AuX90dn4kflGZgbTLI0YPlBdr8NuAjm28TKy6kl6Ydjn9TPZOMmJoFRMyEEb0D7heuTywI6mIPQWlvpu+US37PZy6euLLS+RNmNZV5dTQ8zQa2xvwiC//0qsZXv6KIMsSkh+7F0SUWE+fB2rHMZ2v7lpnpwgp/dZ2uVtjzoiNc1QrOUF4ce66nzlIOR53HQif1kn0Gi5SBljQznE0SoHx4twHJdOZ40FPgIUdQ5IHbWmJr/ZZgSbyNTUAgu8+VNkHyxroSTPWvZrl9Lk2Z2qHoswVk9TLJNttR0eOFQxVHD2N7yEx7JILp+rEF6imtqlg43T9o2brPyyGIzEqH4Nbb/NW9msOqw3JG+zEzqfGcd4rUBxKSLmMnj+KAaOovnZGxJ0dOVz4SQJZvLh44O1M2MSxlfsHVqTKu0yugENosOOINiOU4se7gzbnxvRHerA4mn9cAj1H5s+72gVMgv55md+Sp/uhEpzUBWIfl04UrDGqesFoUVm5SyadzjgaUY4YjgRwY1FLGpJ+vWXn1Rspc90/1PrCNJOGh0/EjpfpaU+7ws+k68XxBe0/qkWg/2c0ARI3VI57ZYjdtFAngJUiwvLeAnVbthI4iGVtlE6SSq9mH3l5fa8u8Qg7t60gPuepS5XxYJ0UrxBCYEe8Alnk0V3gEKEW1C+5CjPEXgd8dNv25NO1D3ERIkStGVfukT2eERaJew86U1bZ9xCTjG5Rgbna0gXZuGbwa+Y8HoeA9rWFdWSJ50DYGnpCILic4xiDvuPX+a3AK+WRO6+NbHL/T0rgnkppVHTdaFi0TcnAAoi8x+IL9swsdB+2+8xFy5W3N7l9X/PcNncmj+gWIu+PkTCyaXA5YCXdTo2OAVip/geeuZj+6DlxKac0hnCxT1EutW+LVV2skS5apWMGK0ohEVS8UHhkLTR1HFOu5Yqis9aaK6iVx3w4T/epxNrewNQXKWw0JoZIMHM1nTHxjmrvhYmy4TTwhVHhK1HQKVwGf7j5Th3sUUO1NIyOfmeHb96dWaAeiIBY9FHZs5+ee+xeOypBKnXgojVOj5kkf/eXzqoB0nlYlnqrnUJvPgBEZc+aG8OCNQHbXtubaZzKUX9UA1EuotHqnZHyuTepWMuMg6tyX76A0ENGYiGhBVWJEoDz4q6tXnrwJxjUypMNy8tXcupykpvtbHQIaqqdItp43w9NCyqX9DcKZYa6j3M0BW4yOue/A76noiGGtPP9oCXZL+WbS2uyU6PYYd/LJJR++9JvdZ14BndTeCFcy6NlBHtZrL7dtb+Ra5pHwW4j8f+OlvFQuos8hfypBLM5bWaoTFmI1XvCCgh15H02flakROzwpGE57bqBlB2VqhpigpOMGEd4RhAJ2LPArjwd346ql9G/bUtOhmBTGjuoMdB9+qtmnsVCivgbYFsQF2ieQi6/TicBaCPgpQcSP8jG7ecWErhLcdNPr472BJMG+XvTYVzezCjBEaXJCO2T0xlKo9rBwcZYqVRcN7TIaxU34IBKClxI1SpMcDe9P5wL6iFdhwyDBH5ywqOdi/Ondd3OSO5t5DnJYXJwVwRiKkdjLzJkSIybZBlAALVLBCEFjHniVpzIPBdANaS0siWjaxmLmCsJ+2kakLIkpXfdKyrUkR8hr86qOR8hqy039lVlB6Y2XeP6uOPyKtCpIL7dsQviJZ3RW8Wpx1COeWCBrq8oFUwCjjL1WF/MRjalNs/p/nDrtRxlJmFdSchqYK6n3OvjU+KDkeurU54Iv9lWyRV79bU/SptiqGd1VCo2WMa/5BaJvwFAB0A9FKS6KGTAsRG0/lLv/BH0n2abpokeqfBTmZlva25B4uZ48myGkNmd/OAO9mUdPH7447ds0sS1idwtSiqDzVZ4i3KBxgtBQintOroxJZSwquQCvSneA1CKniioWiLCH/9qk94I/ZW5mSJsVpH3DrmEzjeTW5qtKiqwaYXnZ7IO39aPLXymJMF+7A2r0ecqwO/s2pur/cl087ZGWSA9cSObWnM18/kIRqJykQoWZBgNvvAro1pDbq7Ny4NZ+dKwv5GB/Di2dzU4gTJ06wbISm6jugvWzm7dOe31DYszEaK29BBZZzUapOju6D7LkZ/VuxxY2DWnMlVrQpqMP4ENY9BTKtqPE4v6TC76ivJSWvx9y9qnm8rLJRKFudj1AA0VrLdD5/+/mq+ct29jCQtscVqYjCJNR07kl2mEtn1TNVzjs5vtF1FomRZUzQNPaKe+boB9zvdgMKncMLf8CSVq7wiaq+C1M7cu++G4ll8mF4UQy8X8ZJ6OdhTMzJa+38VVF4CviuChgc4d73FywMyH9UEIxCP1D4ff7T274C8XvJCTf+bdllp3/13J1Xhpxg0k587HSOkSB2RQFhAcWaBaDGBv8/yB22y85wHljFbGPlMMw4nF3qtFgh050vpeaWCzxFz+qYlZa3ubLgcas7j5IwPZ2BOmWFTh49s7LJR1YLpjM6/7/9gF/6DFRbkbSKLPVlv76luCiagp29yIFdCOqbTD+WgqCEvLOc9e34gD+FLUFeHt9aS12Fk9Yg/igHX1hZS2nvZFDSge/LFlcgKMHgfU3LXxx5UHMMraCsumC1Ks6QiQ1iUDxr0j4LCbGhxitQPH4e+su5492zdix21H3GaxrcZzHpurYeK+nWeqEEVELAZ+t8GyeZw1cs42UTN1pMT2N2G7w/Bt/m3mw6Y9ba2fsy3TXbrkyKvlqraLKReBD++vNCRSz3ta7IB9SyCNFVdpmUJB1LAHgARCvAeAIoDHWfHLQZYB22jYwtxDKREer1jsc0ZpW6YSubFeZe7NUcO1CB5T6+srVF9UeHbonDdiayJ8EWJxiJ3DOmJ5OCpuW/iOeP8wOZlNxMLrmNdMTW2Cthaww2LUQcb0R6ZM4NFTwKNZZr2ut45h4F4OF0uZI+daMyK+EXp9zztlHUtMX3E/lE6aaYRi0Ero7n4maogll7zljVkTbLRPZlR37xX6C7un7B0gr8fWM1l6vX3ik2HcOWAoeIWUjDxkGfkT7W9mb+3ku5eqWuogaTOx9HScCgllAwRUvWP+OBgim4fGdiG/yrwYgZ41/ZGaX5Otj/SmoH4wvsWVljMdLApp6QWjb4xD0r/31c+6ROb2F5vwF1xXtSPbmy062XB0mPgCq+Jd+mUYTakvGQsz+wNITOILbZF6GbjkntVSUKcoQYiVtd6xtQjlvKWLohY8lLhGOolDtDRYJ4O9hrdiijnO/jA4skmUqxI8rqVbuIDfWWYOXHD+xy9pLhnFILKWbzUBcW0hY9ZIHknHPvlvGWH1f17N8fF8by3ESgAF9avDHMXZWpVNUF64SD/GsRiBmyLjvppACkqAAi2fE9xVt9OtMO9rXgRzDkH1Ras8ezuzGJU6giZXgb4ehl3pFY9wLYQj5ROn8qR2TfFVuDVKnoXIpwgLOHZQ7Y2GqRuubieVUxkPtHGnTEn0YJ1wGf/zCNUxPnIyJHpyQTcTZomwJW4Wd2a2i4kstZoRYlkSJPrNfUU7JEefpZbbXgTsqXB8y8CRUMsZ3Cc8tOJq8iyZPgj3h6J84YKuvE7KVacOutIrYtlQBWSGIDvAFOGuUI3Pp5ryf+PYUx3fVT7qWXbAGzm0tC1OX5hVnvSSmJdu1qfyTsp24w9oSR9m7ouyLkFQGhDni6H3244ikK6EoH2YwGlni10KVXfTKWyuRADJiGHVdwiSDeMXZ9F06wTfmDFaiaIv9vtQ0LJrjg2gftahx7LPun9XVbjaB5eFgkudpiqD9u3XJQwOz1HC/6ACPbjqyINF1xrLm7UtPmuZ2gRPshqzO8lHjkOZlTP6gWzh4RGE9QxAlDoPxsXP+QScFHmLmN9A2fn5g4XY8QYnbIP2jyXBk3DNb0tZAvilu48kC3qBEbMEaRhyAYaYCtGDDB/6r39Q4lM4/JDo5MmMbX3iciA+ZVQHbwv4doBoSGRYQC79anS81Osp38qaxmpQiRFWUhosMkx/07tvag7q6++xH5jLAcozdU0efmkOzjN873Nn3lHcveb8w5+8n/fo/xk0bzD3PvIaxK4cApCgE5eWM7Gj9vV0MeRjHUXFZBfAEvgkJFjvfqnzB3h4EQQkUmE/iQUkjK0xeqi4ff6Tz5IuC5nDcOeyuoxeqntX84AD7NerCskVT8/vo+68jh17Vzubv42+9efVkRtVv3ahR1+EI/AxCJPzXH/ihQ3oNxnCCDI51KY7MuvjxmsK1AaX8Rzr9W57E2Ni3S89iMnj7AqRdDtKMPJH1/Q6mCAc23hkoI5E5ebMfqs2bu33ycq+NrfPGoGZfMqRJTImMSTYhGKpn2IUmbIDtbt0/yWOi01Wkm5c6nvIZP2KQSkc2ho2nTWAC6GKH5dSj/DRvHCh3Brmj7ZEq/AjWwFiSRGXA73BTCR9LBt2yK+8a5guM3t1ZU7U+hkbaflq4uSqVHAOmRjdEE/KvWGeAdbFYOzJFoTCu9wlyiNRG5fTxuLmLh6Ewft6EGvkhTFE9kIzp8luaiOVLicbWTreBVnM926sAMd0hysNZCt10bVwbkNZ3mK2UqdnL6aOwh6ZXkcfFfG0wqIOfzIeJCRljE4QIXXH2VMXxzt3YJDDLIsk+JWA9bCt5Vc1UXRZJ083iN6GAY8LKMvtl/KUgiJjS9+Qyl9qbXc44EuGkGCS9byIU8iTBCw6QkF4czB1clIHJm1CMp5q4WgFzQNBCl5mBXDN0rr0L9XtTcUWW/+3aidezQTbJHAP1gVhHxVIowtH4klYMmOhCCEcgbfxFUCjmzCNwn5gNcIrox6xx2jupBtv6jsWMTqFy//bNDOR6NAF74kZEFJsX6465QlNHSB6Odxn3omaGNUo2kR7nvJMS7lGyTQWNDR2ai5yV6fuXt85kc1aiEyI/Fvmh02rcmfC0FaJOrj62jmI2cqXRvCeecDJ+IyI+InXR+MLUERHZBN6k7+1X4Z34ZcOV+m7uBA7alc+vQ/3xWzSkbYdixMxkuuUiXjp7IRN7xU4OLZ3A1lUfA1+PtytDpLmUi8biWHP67VLKuTpR5/FZoU1eauRXeE7XekkY7PqlWhqskFO4jXUFm3yu6iBEPpNQXCozHNJIYpO4uU9aW81wU1/q8QMzPTFJ1mi+Yn8u+0iVU2Zom3fWPMBPLYjmq1dINpZyWrX/93ELGze2J/NnTD8arNO5ibeTKcRj22VcbLt6i4kP7y9grZ+DhF00n2gvVJrbbkz2mDYJxhM/D3C1dVVllr4wb2Ch2StrroQI5wa9LHnK4IhJH8l6HESjANj7P0+z/JRnY9fCMoraHmo+/qbIsENPeMYgnmcsq9a396ChQP6+y8N8XKGWlVwmOolR+9kBY0ic01l3HqesdBSEagpo7PjpiJUBeQ+hgm7dkj2JwjTkTXXo2hHxe7I/9eyeb7fqUziCLSWy6+D05i7tl+Blb6T3EyI8rs135deDeo+43L6aOJKJZ28Y0V8v5RX94t0OyMfyGma8q85MbooZE1rB8bACv7kCfEzqPnW6YldQDzUcIImum+dXSM5es+sWDpg8/pSGqqKrggDWVvZBvpocs6wJf9GEXYNZ/pUaMlZaLpjV8D5+3ODbQSXNjFAIC76etJaEC0ycU2boFwxTfn2Mcq221qFdsauYoVKptl/c+F4hVTZzmmdjfsRuq8FhRAcxaq8hzBLc99uthwmpm+WXhG73uFJv4G0IDPtN+CcEjvEKpygCdY/hylqnvopvE/gKVYC0hVoeOQD+xkw5j72fNC+/Ml8QfGQe3A+By5iKiMUrOueYcszr8O7lkluVSoEortUSDqXJAo+5a+9Xcrg7wr/ypxft0OHU3eoTnhX9mGW7NvrkyIgx7QIODD2zV+8Gy31b+TTS7cLigG5Khz7TQr74CEFSsOwylitrCxkJHIMADstGVJV6dfLW/wuWYB5ByqUCYferuNAyFRrNeiNvRaWgiOcpbAidDcwSEJxxY2YP4tdyolnE2vg/IXN/gRhQ6gh0Hh6yp4nRvIalSv3h59nPQdj9sn2dfk6NU+6NFU/PkSKnlpxaV/mZqOcmTl8GC7/xW5JL9la4Dg5hdbq5E7CJRkpJwjM9l2B5lfDhnnpzXbXgzFhEC0IG7FcchTYaJKXorLZf3FEkFibRbCxjAKVsH46Lacb+tQlKJeSP6OTSv3jBXI3OTbykhD4rosji8jatJa+QjMRYp00E+/+Jy4iWJ2l9f/BkZC3UrxbGthtGZfsVXT+mycaVcjNxvvZXpNSIBGwmK+BKGUJeo9kjhYhR0Kith+0haLrLzhvui+pUPpvFNz393HAoO16pHlAiO89vcGur/iqqQsOGTTvh2j8DQDoi0/R4SqMfNpUIaEBrFsne//Hjz4asODUATghKyV+5xjsfGC2pMnBhf7MI/RmBIoqziKSoNRTKczM9sfXhsIOgNiTBHnlVLNpNdGfGglyN0avRNkTzJkaa3AC748D0NkmqCgu97mIj2e0YYRUT32/wSSx87NOMQ4tGD2bRFEp5flDUP5ACIaqhShM437+rVPbv/tMJ2UOUirHs/H1XO7mGhOh4nv1B4WU25MvsLFZsYxwoUcW2L8hlkyGqS1pLg83CUUoCrw6G8WWACtNukkQiVkkpsoigl6nMICFNEhcY2afQsghGSXDR/FCDsmTXCmjh2uBnzClmlXY6AJfISplBitEhyUKpRXHKcbP/DMXYZOVro6MhTmvprCTCT4XeIvvIgJ5s/S/yatSzEWOoSL7D4o2NXQQsu4xN2J1ZnRr21DwByt1zxixaIGefAWQC0sEwz6dN3qCVXKkLk24L5hpWy/Hrwq/xHgVnLTPJqab1+8eHJZGCQkQNMqzPrMu7gnDmH0XEtv1ckbUwUS3ae80XxAHHuYtr4HfdYdv9UtpewxGiWpIxiIZcRlPouh3R72vDZnFC063+qpYcTIfXczPgR3dShT7iqX6o02kuvbH3+6MdVv5UTRLXJD8IfweNWll59xpxUawMFIEiwnC7aKkldvLuUNEIjZE545h3kxhuX4LxKMD9PZrpOrchpoKl3lWpwt6F0T95j79d5TxE0E21Qw5zTIRGT2SPi1H/irrg/9dwFb6ccdLOW4ItpVy1YPp0yvAYkxpqRniE24kwSuIHZjdCmefglZ5/N5SoChnbCwzopnEN0EbQ9Z2pw/1qpR3tAwcyC2SsQYTjVWtVFrPw1TOWxJReW9VkRW9JqMjQQcwYBWYl0kyslOTjfCeh5xjJ1W+7jVsLgfmyfr+iAPn/1Y1bjPETxiFkB1fadcwUYdvA6zS3kgcQXdEYMrvNl3fmIxCxpfTHjzlTnB9S7ilaGZMUiiRTnzaizeCyyhtUebY8b2idYcN+24fM2JzLCYA0Lvk9lXAay9U5OrdEs/2Lh6wuY+2dC58z7mN2T3YQ2knXnAVtOVM3HcuSX3ZDAfHVJsqSs3mLmql7TfrMYsd/eqX19Jupfc420g0LoqNq4h7YtgNz/MKMOkRP5W2i4GalfagfL35CIa7okGQyXz0cGYoif1rU9kAIpYljTLPDRJHGDw5RaxttjUWlEkHJu3cXGC6H58d6A1YvLiWcCcVvVebnimRO7Pqm79qpyccG/emAvK/uti72M0MeF759BfCO/6+cKzX8CBfzclUiLPHlfkmUX2sDqzo6pD4y+f245gMYzR1nnc0J9lziJaH8lclDJtr75Cn4qzmeYY0X/7boGeugGaEzFPjieVxfPf0gA4UMdy+3f8vQZyggzHVW5mcurQtJ+DwueD7JhigtZGH8hPdM/7/NavjS/qDZuAH9oqJ2EP6J0Emxjqg+LgjPIch/uxp6ushxfql56dwaHqAw62dxs7ndmKE5Q5kW0E0W3apwpz/9GIw7V2LwUuXeCCPaRKBui3y/4hpGfYQrRBv+QghEnzCgIiI65APzitG+QLmr8sB/mWmPKgVWUXYd2t6Ut0xmCxwToqQcZgNjarjmiXBNUkGKIK9Gz+S5rejk58nCYqKI2khYbnNRF6sQLjHmwkZQ3vi3J7UrWa9K9o59xlyPkmsgi4nGSaBVMkT+t2invmiBXbuu60l3BKqlXK/F5bsM3iwcVKeoguFKYBXfqou7L/i8fp3olN8LruD09lz1mY7LuBh2gUee2NbG0C/WF4d97Ezpb2QQxyRtIaT+avl61GZ01H+hsgVXKjd+5rr4bopbtvUYIfMax0YpOZw66nZ+QD2tlxY70Pf5ko5xW7e9rXhKdWu8uznwOyOXY5Kbqw3J2FWBcqbzob3RQdGe4VFBpj+ohv4rvO8UJL4ei8VjZjR1isiVNtir59UNBYBiRenvsBhIkf48DuKMv+dMj4LKyc3P1Cx4ZNIx36TtaDaVOPnhSrfhBETsBX0WXqMFOCS0kboZ2X3c1jEuraI/dr90hGIeBhTd4DZ5l6RX32sKYQf4sTTfTS78/mbFtXcpGIjAbJnPEq0uuj/yo4Ue6vQQrwmgF1N/7aqeNWMS5U8W+5TD6NbkUk9/aVH807rZ2hu1tkKMdB8IJlTHE0v4nRkajZN0yr0U/JrNqCdM9g9Yn+LAUSO9Yj/UJ0sBqu6qZ59x3bFU0WyeYqmSTvPb00273uVN3+Zim28n0a/Ukn1SZc0gzv3gOhdIHCaKJ7o+9gm2lmDy6sXoYMkJNI3HJzSJZfJ4CggH2Efkn1Gzbda5qGRjYM+IOsbbo+BgNKi0Sb2eL0/sxIooZjdYTwfbFYFL3kg15yBS49qQbTUwwM0PGrSZTXjx5l3koAQjv/8m37CtFAoV6TUB5fQjg7AhjdWCHwXtbBAkBLJlescqa+u5vM3enmJnKYfHd5pVIiY+xTYKRWq3qc2pdRuorUEUbULJPfO5P6+X+86VBJDK1Hem5G3tkO81uriSLsTSBe/IrGsiYeVNho3QUAyX9v5jnyXUc5Ry5GWYxfm4ILDnGZQrIDkse4c7AP2QjU/MbYiTnFVrTAtTTEev9rBOL3rZuFI0+FAFHqMYnpY1LEbFm3KN0SxlbXi8TjBQ9TAE+sthcOh65FlLThtrSXsCR58bIikxJm53Ymruw0yIlF6XHstD2G7HiFih0S4MlhbttpwTsdXU4md26rme0xbmAWWAyGoB+9uKwhWnmVawIcQozRVXv5u5+axuiNPEH1Pvto7tHiIv1s1Kom6qP4Z0e/qV20zFlq2sL9t9/CZn7e/aKuwhxD0MotpSUAu3f4P+TJRgahFDk1zqHDLysdKzj3m+RMLtu4dmeW+GiWk6kzceJqo+wVVwH/4zzUtGEp/ReM9mNM3WmpWImsbmGU23GfxLBwajuDg4m0oFmbtsr/bJZBWmNVvq6/ydY6Zh3FnUSqwMDcHQ4WRLN+mrZPuDdUUMm37/3Ikh4NFf0uOLakq/SIZMNbE3BCvS5vrV72VuesYl4jb0zp+B0hl41C47noUtIYMwZghuOOMLQT55dnqm/Z61ABHyKswoCbRJEQjWA5dzyHH6D5bMfC8ur5yArcbHE2V/Fpiz5VocMjyPjJcqO2r1nSZIrDAWmnbHYmDm9aWNMawk2BHurvSTit1l/GiF3xDEYT4IaAx9K5YsmiwoUEEt+TGb/8FijrEDrLBP4fKilc2STcumC6NSM5iOwIp5iblUw1R9Fz8Onxalns9igL3AO/V98g6gsdvirWAA30jP/cJzTSTnakO2EtVXauX5hEDXPrnNwbfC3nWeZJa7fltQEeiGupuCRUw97sDxrJ9gO0RlrgCZU7rCSzzWW8Ji0scnDmjXgkpkLTDDqE+XtWhKwC1AjPPG36FEJrDuN5iWIjGZ5wty/jhz4eJ2jV/uLMSwT7XFAujTBbV2/LoYCbvRFQwQOeXlB9oJ2ghK1WMqnD8q6Oi18N2LscfZvoaS5pWEHHVLm4HSHhdvw68BSD+JfD0+i6SG6ZDEeC1FxbKZiCgtr+kCO9LZe99FrGLWPtz4GMSJVvE+7HClfxKKFmYtjpqpEeLgl0iXwBBwU/DqnsbnFWvyDb4ChJeKkj+V51oZCe2YlVFxhRbWOqc2CiGTRZ5M0r8uchiB0oK+b9CDtJM8vwHLeLbgQj0F2EXbDYbyGa1BS5QFg+Ex3U63G17cCFp46wQv62dfsHuQzR0EzVgES9/By1VFxyEEac1qPU5/TuKBG2A8VahsCYJ6dWhHLLlm88LBS0ry0Zeugrca84LMA5MpsyFxyJdx2XxdCIcyz+S4QosTu6ARemXBlQJztQml7ZvWfSTp38dhOhvjIAUKKL2d8EDnDwbewWY8OZxyhIXj0nKYX+yDeRXaNDh5gyDb9dFELljLzHUl8s5rDg1mY5TlFHRw8M8MYt0Xivg0PYdbWKCekTcKGMvEOl7jzD/IPm10pMses0OsNluvpJwRzrBL2RFroRLdbdegppE44perj1yKbGKb1/ZnX+6jzPPToajyoPV2/0BlDdsZyxqdZ2S/rdtwldfZc+HQ7hQvCrdfshlmgfzSCDxdnpr4hc5WWGjnWld79iKuLS/fusdpMO41xNJsueXj3p0y41KyXNZ333ipZNJxz4HdGSkkvufVFSsS5Q2EUUvo8C1LmZ+zX7N+Aha7N91ja5FBGZWlOJRS6ZIRmRLbkq0Q+7JmpE/3wC4us+9kymfuo/jwFWqnOPe1UPQrmeRCQ1BiJpmcVvxVoB69T1VebnIYnd99st5SZzCQT8DgFm9JtlFbluHF80XX3hiwFB1Rb3A66ygrFE5B+j7+g6UmQIpitdvhm2NQ91P7Ir8l0gTIBITKr1MeDraJ47UYw0ivPrip3PvYzsMPjLfDHo06MBFTmU7LP0U8h8Iat0FoWrDTxzXHxpYq0sV1MhLZQdxNlQscmjIfsaEZk8eB6z4BGgyyrnGwtimEYPM+2XkKEUyQSHY2OZgRlAPCfUpfqgqPXX8Aoi6yJ+vUlmRz6KRBnMbdIQHwL+lgM/H8Qv6qg5gb+VrQJT4+Qzt+aCVo96N4+7ONfb3H1+9l2Ygalv5BqqDVVFeKJ3jHytAKbGQc2fxVH9j+McErnnTwKhjy9wmoIHvkg7k8EyV2J7SpLT86s0e3ANzP303Bker4dD1zy6gLGc6rxXpCAeTf9XyHnT0Qrfo4SqHcxLNrsL30W6ovGSxD2g15Wte/k9OEo1TBkxuvTH85vprYh/6rV6jbzZq8EfdMQwMYHxAPbPlARF4SCqYwdH5JmpYU/Jrn23nh2upa3Ltfi+ZZ97t1gTsf3Q8Vz8exSwrBlY7qiMXO+znBaVsUar7mFcAlR0fRFEl9ADY86AEtHOestZUyK4mTOb0uVKSbR2b6Ajx786lFJ2W6q6RLp6Gl61rUd4UCOUJEHsENy2EBUv7Tqd+L4fWFq6an7uhodPoBHQU+K7YkLActPCm3bOTUB0CFyL8Qg1wvBxQkHEwK3abmZs9Ea5wOE9LYj/VJQXSEhACDBQ8RlAwV9sNuAU/qfsvOHrs91QA+4oZdHbXgRvB0jLMTAjrU+R9Xv96MVETc0uOClJ+bfQJbZT1DLB1PVq2/Dvlm768BeAs4ELx2IZV65+FLNYWnqlybBAdE8Hlim2A1q4c+o4YrYyM/QEJiywOIyT9bvBlevav5a+01c6MJql3v9iO/jFcMstXu+7SAYb1Czuby+RFF+uCcd70l5a+mtKi4H7JRAM6lsUCb4HOAaQSia0TgGyHQFd8CYJh3QgyPOIV3t8gdT5hqSY346Z0Vfbf/VP/HkZQNsXTfzdkahjKreI17qJNnEJEQd4Y65oy8/slO7c8jCC5ShyW5ZY3NjtX6Q1EyajK1PPlFAmmR3pmUoz/COE3ddWrrGiYxggrU0d3NWaF+Dk1E1QCUNurhML9QdO4/XhNtvYZHopvJajBh4vPdU4YkVfz1BsBqrFb3E+Qr5UN+j0k9oxe2zhqvQPW84Rgu7PZwBXc6kxTLr4EOljwqoH55KVQ90r2ZJ8pyx2IuisxthtvNK8Piwg5ldaXGPsY5kbAjY1YJambcHF9kA2MdE1BP4/o31CIXQOG3wAY5wbesxFgI6dKGhzaqejFzYxbe31xqZe/hXR2qkC7ZeuZZ1IEx92acldvXNIICIUUL+sNmsifAbSrTVfLOSSFs2mzrKyBUn4C9it2AMbT7xmBSGVbvrFeGRMBWO128TnP48Zj4vwPG2VFSnWLJlQ47HlhBtyRI53N5WxRsvPLXBgTlSc9YyGPSJyefMj2zmckjQdZ+GYiq+3TZdpT+xQgAVdKeU7pnWotD1KdjslpDYj7F9cxQgz1qLrwxcJdcM/ilsfuGIA3M37yKPZp+pp5Swa5Uh0JYWBLJ7faW1PitpQmHPmb9C+ezhenL4yX6TBZfuEwtk6edCuJVSBm0r7vufRUA5HyDt6F7N3ouu3+BIJDHfUmhSCZPXtt2h6ykAe5BuQUQH149c8Aye41qigibXXyAwvJXmWdHBycl0B1E5PF3ZAVfuWH4Yc2cRzVLUglryOWy4fekQwT/28YR4RYtqOQjjUMedyo7+I6dZVUxNxUkySekDnkv7zEaXcRiARc4srvYt+FqUqXycrCSJ3uxzUbxxrGVm4+rBUM03yWHm23YgMiC8Qeb/Q7CtNSLu8h7rCt9spwEIn1NBOTN6WYQ0rgXLjgWqGrtSoFrXUlH1r72uJGFBerKJ2Vjj29OZVxOZZOY0GaY24zaRCVqwf/EiB1uaoGAHu6A/Lf9joh1XlOgFow9L8U9GkJEYjaaN3ZuKAOyiGDVZ+tjdEFcKlSQMDkdgkUH9/WaZeDcLQ6OjQZpHi022HVUl+YC1yNXP+IZOhQ5StmFDZ5rTaxgzMSKpXRMrJl/Lvd1CGE0+E4/bZDHawYSejDLYImk2D0E7rvmMp7oi2vmIEGF0n0lrKIQR38phnk+KPgvpMF+VYTx9eJmEMgel8LROvpaowhdO0cQ4YKUQNOBIem55tmB84UR4BOGLRmtNPJhGAF3ipS1elEhkMTbnA8YdrfHUW9GlUzjPsG9YxqdSymdi+kqI9Gzvv0UmKpRyf9ZbCZAxFvefTM3s7qYcr7O7fP79Uff0KCnHVngwsXCB80eaNAJgj1a4c+sicTxTEjpjU7ry3RMMpu/xHg13WTKY5OBq4fSn+Gom5UbGwQJKwNgRT+VgVViYBR4kynbxADeLAgNtlq9cjHdLMSVeoqt51SgckkX54IMgtQSr9hzSZnh+6XNET1dVOXJgxCeGu6UYVXRwQhCQKhJpGok1fz1490ZyViWwhZeM2DAybSCLVQ1/56zwZJIP50jQG/wL5uEd0TDmlx1PmdF4iRU1thvjSwjrJJuG4e/MLvbZIDdCqFBcAiVrGua13rZWjSD68Z9Qe5aRDoeLjuG3UWyTjhISYGDJMwzISsfaF7A2IsVTnvOxK4D68BAS/IHQuHjJRCCoBnBelC9Qeo9frTSKJK5nZHpMgSo1qpc6GlELaP22A37ksGG5WnvbAvN1XZdq2XFtEN676xSbWQgmWBzjH0eVUB9PXYXm0q/t3bBYJkO/EwuL19JlwknPDDT/dIH/D0IsjCAzRuqWdkahVuq/eQH3CAWH/26wWvlJmK9/2IrH+9ZJ9dUG1uUd/H7KOqtIPslBMZO94hK9s0ztIUcOJ/0TXhxrf5WTWjGvMFxZDoenk0W3nkvsYPag/iAQo5XLx5PokDFR/n+jIxV2doXhoiine3gearxuk/mgroqrt6N/6T5sfvikrdvaHAzAbR+F+uxcSVMhj65YmKS6Apykao6ldY5mG33V2LLdqyYV3PpOF+/XiEn6KEEx9Imv5a/nXRYf8hEMYMKtmExGzEAtGdyQmc6UovxTfinpsw+xpXAWHuRZ+oqsyqktBgt2ALEzoXwXFKw3lMh8IAMT92T5r+2Tfpo0s+ybNvyvBUB549h8Fa9Q3qwRN1cKgMsCnPVcNwlAsPI17FYSe1OztH68B3CINCQqocHLLt9hin87qlXsaBcCoq2PZNUWzq0SsWD+5kzsmB6mRO+ae3O2QxmqWQ9HvDLYD2zLaM7Ud245H/BuHYPOp5863/NA30PJuOmPZMob5Oocxomw2TFCO1xasMJ7J0gH7zUMvEauu0qUK8AxgFbiXDksYaETwAQ3Y3S5ozoTXzHnMG3ohbUOuzSW/jnKRHXoHsrqanTww1nMSn/kChhfEBFWxB/r4w9zhNpXX7ele9V9dK0tthIYzcnbkkKP3ldlbc7iGBDj1i+i0Rk9czDbHjVrh/bjK3m+CCCF0PJdC1GLtW5PK0P/Iy7QfEipeFyJppEjM2d4KTGS3/oi5BupHMoOqmE/Wlx9QtWEQIzM7u98PNd1rUXQYpaoyJB2KTIdrrt28kXS8EWFRYYpzxaR/KfUjKScq4NYLdSA6On1Cfiqw+qZENPUPjrBNazbFOKGrcFvwBfMaGY74tUcOBOiwFDRE4RhIvAD8/claFjPAMVQHeQyEsHRqh9u9DghQP/VJYTTOF2m9g1DmJvVsj7ZYkU8OF0hJfg2HitN4J47Utdq3fpsKkapM0L1siLPsBPpa/4iL0Z1MccILkG9DHdCTwecmQQOgBhZfhr1X7RyXhac5hbnNBAsLax6LSnRBBr9l3xMOSzhlrXY2c3eM3MlpdmyzuBhotyj618ML5Y3GKm+YAGff+1dK+Xn5H5P+O7Vwh8n1vlEgnnr9yw3FHh+4fgSSvqJRonaHt+4Kix2EBcWUCpBXrOW5QNyCs0lC1xShr7o97p0h/btHaqi5GInh0C5gQlfAJCsMMfDr8qJCMTajbp448J35f3PzzezLcMFXM77ZUK3m2Xlm96iaayXBf6nLKAIfH3Cyoinw68N/kMjUUG0MXAdkpcUQfayYzdwFqcFR7NhA3z94Ap9R6r7Q3+MbAo8aaCMAScTtAoM4GKU03Q8tQEzjgApCQbsb/qnvfbAdkfOI6Wcv1K/D+vOy8+7uZhSls3chcmztwBOCiPM8vBtQA4AhGKwp6d42AQuup0sbhr2UC0Yhk+62mH/hKuT5J/yiEQcRZUV3FlwtPzw6q/zOqxD/EkfEFRNESX/R5saKQV6h+ReKwoJzECF+WVH0cZmYBLb6C3GrVwKlBtN6+cMyU2KeM33u11vgEbGAf1DnaAKrRbGFsvcgB0HDPYwmVj0CwdAkWJtnm6wqWf0STBVODM/uXgosm0H3+jVjjh3e+TN7l8uFT4S/d6jeO1KW6dwjxeVaZwZGpvb+5avjI8nWAjh60t5Vysr9bYfufn5vl79dnGX6GgrqenV3vSsn5vqrmonUUalpMw8YWfdbejIaB56E9pH9e56EAT9AInvtGxHGY5S2VBCKn+WXeclpgGvbHWQ0Ln7N/8ZzOKMpNKKQ/Jkvtn2ouEfcKVB/p5YPvI+yOj7rdBcS9w6sVOtcgDgjFC2ajCk4xAZZZVCgx0ETx/VmAZAtBaB/T0o2VNUJ5aM+t9HFoNXITrB+kt3UFbF+lqD5lqdhCBuqoMaWqb2Zlwy8tB0yMZi5dLwQhVWd9fGeUqpVpkrIVcDRz52a2l1EvVmcKHDK/qMMTKwZLDm2sh+WQMM0oVtUvGoApbgprCmlChtaV0X6CEZGg6OQ3ZShxRp45oviqFDkwiE6aefmtjz8lOl7KS5f/tfCRLX9lNi6cEoAxTFk8HFr3AnlOmvRQaOzHrB0B0t8pU+XI3IB8LLYi+C8gLiCtLrGi7vPvUMvaLxgc2Qp2wLGb/m88sCqVFy/Vrz4dQ4J2lolhpctpIQuBEJq/TyzZ9szVvroOaRT1+Mqg//LeFqT1MRuRvvS8lqEKtTSfVY3PT3ZVE7Ervu1e06SSSiHlukYBrMAwzwfj0tWv7xXrovfokSxwmEZK9CwFKNu3fugGMshIofGLIhEM2HNDk72EMSCfZyoWhybN1Iy0fVYjYAPT0jQjL1rC1X2zsA4EFPrchVdaT6Ra+W1X1csyb7lA8XfEU5Lw8LRj0l9MF2O0gogm1nLTca5TJFgwRDTySUiFRvmLrJ97ToLBqupnzjPoewPGE4iQ3gI2IbkhwOxdHdMo2odjNAC1A49VxXtzMNBwAjQJCxlQEjo0dNZdoNBsJaFCpMZHLmswKKg1ek5JIdPFIUacN+yW67taeL0jCKeIbr4MffyzMmuXGq6gp6G+Anm4BiZMOPmH8FEyFl5HH3RW9Vbj1brJMvWEHb7tonQnREfQ5vEPrXAp5JKAd7uoT+ssPH688EQeR4jHZE8SS1M6g0rW4ioTtxmgXeHSQVQ9T4i065yBAhjpgjqod8JsXn281rKrwmV8eET+piNgn0MnuFSCdTaWH2TCnQGz+Bflq4lOnawOJqxsdG5WyTDKYsFJC+oymj6BwfufxYxvrZ0kVGK01/k4v52tWD6JkEwS4PCejAqqRKxEOzUYE5aIvleEemBKOJVrRJZ3ddnErW29ailjmk19mgqARN6DrZ3wxvuk/xZ6TsqkiCg9SA6GL0pGNjteFbhbADigQJYd5+hWf/J65pj7S9mxOQTebJLfQ6+24UVjPCQi/k1AcqWS/T3ti9tpt+dnavdhwAoVC4Ex1K4wDZZr5a4vJ9d4XS0bYRMlhzzFx5ZldMrpNu23tZhpK58V1euDMyPdf8ploP3pmK8j4Dmdd2Oz/Cj3dO2bG7PlNHE6XggakBPXJyYCH3U/kSHq936EpVm3KOaHlmriUtj4U8cMjaNuhqZD8KAzfI0jAvgqBhtFye6usx9zh8/bclN6EY4jPg4K+9DsbfCrjw3JOR+zhPvj9+0RzpzeYknMyQrBhSKzvLJcv2X4JtqpFaZMdDLiRdYszfRIIFA3TPcFCM7uBryIacz4fXAUy62O99zu4QZ4PH3wp7IxdCDzpHzf7ToIGp1fGujYcBXUxNmyeeZCaXhcFOp4IrJ8gCV+avmZjb294dAsiV2LHMZP9nxCHmn2EonN+/8HyCzxq5Ga8DCK5BAUwa3Av1OuG7xeWJqumdA5LdVH1MYSf+f6z89wN5/XPf5Q8sDgRQKbrCWI3dKeBZLpX71b+DAVydCC7P/FYqDCE71G3SjaanJneFrv9fjagi5qRwVpWoPn4Omml0qxis6Ej5W4ApdaYk3SmNGB4QMLuLiZfwBAXD+3iCcn8H0Jsyq6OxQFaizzgeHMMvQOkkF0mqSdnP2MB2DfcEkFGTFCjK3YL1FsILg3iUD7cdr4BQ3WSgP5FdGvcPJ0JipyrxYZ9MgSNPU3F8m3lPXw50QE3Meq7uBECxAA4mIpqhmrcU7zcC33q33ZA/Wd9tNUaM5ixjGngsGQsKJklrqiveTlgcmzH8cTLzF8CvtdWgKi+FrJzuvcAQePnz3GNxgSUbtFFxZdcQaFPmKYV4Fc41rSzDId8xfhgmx0NewINvsJOqVSnN4elvYwvtgw3TRJ4sOV4A7fgBYCDdoSGwTLRVWPikYE9y0YjwYdZyOqhSzhXShmE1SG+fxp3oqOng8einFzMerCVL2Nvw9KC61f2B6kuos0gCSkSHbu0naysyzKNuDFOndIMcCOljPMe/MCZIR5BtJ9GmjehfV1bQ+eoTfp9hkQqZ/V9sVfq5hjC6g6E/hxsLmn6V+6C6iJ8/RdIHlHiPWZgYocsiiga9Rk2xfFs64UgJwCzia0EUOItPWTVnNR6+1oe362Ub5P7t4xyVFmGeR1eMCUdN2MBu7CxxDlIR9zU7UxCvt9SrMyVvORhFW9/VddkU8vlZcpffYFxnUg/+MaUn/I7KXutHjSir3TNcC+hhtgnK6NFSgwVjlhuIi2okgg3upp8M7YXKt4BdAqG3fQgdJ1QLK6WqpMKQVPO0MM+tcHd334sY8pWWiXMgm4DXaBJ1gwECZbsfBtYZ5H/xaBgO4fYEGSB96KZcJ0yvsCbvzecCaQHaaC2GWV6PJuLgp2MgVCQ6fNaEyZagc8mI7Am0M6/+XfqJ6kQ0hPXu33L9uE9nd8Hayxh8ptUKC2XY8EIvU7yprvXUJNpWBT99RaoKUv6YD+phrw4cwacKeT5MlFNJzE2auAapRh9d277MoFcz8lR56jNrcOeAunbDKltQsRd6toYwNBIme68jP58A2U4vGONzyNcDVZib9fNj+2sB7mSHNxqJ1bq1qiI+YFVXPnO4s0TRSl1Eo8SOLnOVNUIIPPLTFuZ5CR02wL0FENwNeyYfeMBpcIDNMDibv42mwfeqRiSKT/L0eKSrbE3ivIgeZWVvYSHPauEryPlSXh/Gp9xXJayam+EuSsA7rl0GFV7fCJIe7Duf3IXUtK2WVwOs/QpNbrifisgby5uelw1ruBANE5LUnabJgAxJXWL3ay+ApbFeN1BPzEGM0DPuGmZ+jhubbOnRFAKgb24urHGz3VLywUuGCzQuI8nroxRCfRyMzIogtvA4Zl4j+npKwtpESJgSbNmBLwmYf0RCx5OAnMODl0KoS3vwRpbiu6DOI7aQsvGqc6iPCt0hkhY1yBuIh1hRXmSRsGydku602wryG6D8YDw4C3isjlBRkImHmTU3s7mqx21QI8qQ4IR4VGVCXUo7aOa1xQvVY3eO94+VxG3y1p8qAe65BVBGS8AM3/njYxKnFQKWusfxQpnHhpgpNOIoMkHAbqMLtfbY+xkBHv0jKudhHFdOe/fFfa0RT92Eaasjo3WhSXGSCIPDziUDeOaLLbQUmubJm4q5tnCOZjzMwl98y2elj+y2BxOUXbHQGF9xlaQ02+8MEfHgHa3ZhDsKJLgyrb9jPdUMQC07Fz2SOJyAS53Cb1eE6ltA7wVTV4VR7CfvGlrH/nKFJbjEuOYyKib/bD6UrY8UHIZ6xb6JCvHgEAT7vgZgowoczDuXJChCxlTl/nJr5WHST98niGX1pNfJEdXbFZbBRKx1pv75YhA1Kz6PUxBQ4gP4COMFQizlsQg7v8x7kpzqpfUz+yq5R8UdAJ44JPAceOap4ZxFeUTqW74bGMxgQFoOj5vFu/DrPd31DSPKdpf4YJZ1hC4AkOPrb9sFS27iIZ9MFRNROalKtJZKM8IGjXU/eYHefMSr7bHMD8W5zORhZEeCDwaAlTPBFyRqW27M/Oep8yYnRzou30X88HrRC5UulOdP9q60EWcudoNhcIz2gb/Omywjabp35n7WxeZ4gh7QVk1/pJ//2Hznn7QUzmjzeLX9eZlUeuoNSwpK0ZGDSBadxJd/rI5v1mDfscaMDvNh4DpujvJx4O37NsB8wnvWtWIPUTHNBUHXYs0LsGfs+zzKSvGb7t7YOD9tPzd8tSvUegakukZuVcWvCr4I6dHq+b5exIGiI5cmF9pC241xHaXBQrmYvzowzuN4p/+0iQtmigH/E8uuhLtkyWsFBCu4KAUiv0BgoF/xvGz3EDILxa8au4FT8Ic3vrbp/KjD72GRTjWspsuy/J+j2HIWBsSEKfv43WzKH2SNeU6pWsDbMEIHm0aT0/0letTc8PL/mgn/qjdChrxdgzw+VKLUHPDPaXi5dR+66bV7/YWeKdmd5Oo+lp34L7WThsRj69rT1uNQ7TLMUvZsxW4I5bxrwYaKL3Y32LIa8XZHB1JRjbEDm/pJ8HWHHQ92Mj44fnuhqrv5yTOzfHONBOb4z/L2kmlhHEJugqD0uSPbxtbvkxyB81AoeX1VsIhtS1zhSYAYjh09Lbv2u4YG3SSBWOusMIYXYp9zG/LwBtBOnDyV/mugiaGUBCjSJFtodtAHfs59arKxqL+ut9hOd2qcYl6YDj0y2HLfr8sVABsx+jYK83cuab/CPvIJZHJDlCI+Y5xMQqQKXscCvQA/jFDkT7vLdWV1ynVP4/uqFzHQuWnOlPpaML0EB7YrZxQzYpJbvHMIwVCbs7wgPRC6np35BQ2JGxc3RJpCp1A7onc393/0oaI+ZcSK6qjNNIlq/nWQnz8BaMVL0KBpUavXueted4LRFGuUhcw7DAeLr6LjVlTZ59SsbTdLu7kpANQRMJFLicH903qfpk5WPwUKmdRhbvAsuxNsJThJNCSxncKfHnEcSRD6sUOnd4m5/+nuF7SONwUBDUyk69BeQJhQFqu5zKOabXiugV4/npo7BEg9m6Qp8lcSWiwGt/XxfaGcWk/agiMF239bWv0CUaSrzSpdUsSCsI7/qh3Bp/pqaIu1HQ3mvfVdQ3EhRfEdDgvc1SQKMwd2p7/6aA7r3CgV3VvJMRi7lniIcSqEFBvCCxGqgPV+C8m/Vg9ls/TNHk/ptUT8GXHg03IcMBuBcpcev5P+6lUZw6ygZqDC46C7njZ7mk/wQxcOjETr3QxQPuRiq1lwPwHfSDFuqtHFVPpzuLhfQLR1Mpl7HkXy0wrcR4TyyzRfdChouZOQj3MFUPNKwKnqeX+Kl9GZl/Mne0SgLw9GdvxgPvmcr30JMNkOAWk4j+cq4Of9g6qhjx1gyBkX98uLa0wRqIp0gv5SWOfAwJZkwXEpocnHWL9xBXCVDzcE8wrgRgojfub84PwsDfLE0tLSpriRhkft+2cLKjlEhk35cK9BrDmJSegA+gc/ZRmON9j9G4n4gCJGFP4c4qHFeorC+FATT8acA9g8koSVOGYN6TGcI+73zrIm0sUfCM+1IsYChKFsT+cJ6c0kJvT4ZBO1ZN6F7k7Rk/LxOFXkaE0OV+8BRajc+kY12pGTctAZnfTS+MdF3COvI1Q5WwZMcmR6/TEZlPy21NcPrmLSX34RPbgq1UjB5K0fp+JVGueYAscCEnH03WXfdgckYoe15RGm1zY9K2AaBuotD2v7OBfK12s1Gr5B8Zl+VieCx648s7hbG5mpyHma/QTkqHZslhUsGiMXOramsx6A+UEbD8HloZQSXTpLIUJTjCDN0U6iUASJ3AuhLwughotcei3BAmy+OLHBYjZrfLm3pR/K9VMmx2awx1nywC3Is9MDinsrxgFcp1HFbscpRnwWmLv4JRi1hjvX6ZxhUPV7J9Mpu+L2zUHqWxeBNtuEhbUBR2oSFn10kz4T3g5O+R+A9mkRghh/nNPUf3QUj5S81NLd0RsguRZ1fYBEEx5NYR7qiu2nupPihhzqcve72fCeo/DQPxCVq5nKqPEBx3WWraZCj7gGKrR9A192OuUdCqNw2NOBwTrGGaiH0etYTOvWcK6s+3iX7tpj0E0OXtDPvgTXwPaxcf10KfeFw+Zqz7zR7475rS6Xxfsl1g+xK6rZNNUjKhouNSZSXbUJJYVtD3eg/V/PzRtkykH5lGXfrdK4mgc2jlakroE+sZA/lDgQltLzoaIgul5lkjyCG4zKRo++d2hidIp17UeCCPf8F9UswtjzzMmuiPovLeFxj22kKT07rfKNWTkk0YUoSlDc0lfQRHH+dvJiaWiYD0jSMOHuC3ZKy5dRNLh7QAb0g9B7sDqmtJtpyp/ePMFP0grOWnTjSL+fTrwLoSN/rL1iFuIM3Z/EKkRHfZklyqlPkMQKnIoSin8WcBRPM9A7DVEWMA9TQXSeawYFZQ0uRuWW9dSHKnXP8RGnPJzEXXMyABOF5oA1sROYT85xRM4M5zRyYZCBxZGok0jt5BmmCErQi+GE8tBtGj7ubNto5X8cfwbxy9TUtANPPH9LTYZFV1WYz2MnuIVYV/0K5MIHywXhEhfDNRc4FYXb4QZe1RDfF9mfwVFqkyl0iIM+gehx8/zTEW29cAtSavCEhwl4raUEu8+M2ttNex2Kqp1thoBYU8PQGVcq48dXmFdsFF/KFs0nO5WEjL/Mr3HE1jNpDqmdYhmHI7hg/ScPDU3jBET0BOAg2VVVWrv3ePOONGhAqKggqMYwr/+0rDR1bWRZyNdaRM6ZC0I01nx52HzQPwPV+lrPc66O2Mm/Kfb8MMO9AN0q/raiYubp/X1Fi1MmqW6or4MxGUnrfuyeYUmhqfoT6uOzyLZIlNfLbQilIP2hCFp3Wweun1O/JcQ5gLeekO7Qj0qi++txWVOPdO9P+GCl8jnA8hiUKsnHneqtYAvVC0NhbRva4yTU3VL7l9hQtWmot4TA3Cwb9y04IDcjzh9VuzmIHRX1MPLBBrwv6BfRlHOU4xC6Q9uCUihwRMxzSOSeWyjXIN1guNr+wPExfzy6O01cTweJdjuJntciUye958I6qDeyMfuedmIUvmBN7ZbG49qgfMRBLMd7AFNjdmxkvYZVztzdC5E4CxwHlnFxyG4rEwwTCTyiNUwDZfsY4ATC9sKN2f8+goiW1HgvQOBVROU37dd5RYXM9+63uL3tvx4IBVykkNgLo8ZrvuroRbFt8sCt3gVpYHAey1Vi9eIdnbYiXiN/cOlk6mC1MJE7xXpTtJ1yHQUqWoyJB0LO72XPEnVgGSi81XIau0eoVbjRBUmMVcikUAYeAwQtswRoTfuVk5liHEEl1cK09bb9lwA+MyOD7nwALO3YWphkyKe8raIup/0hrGJQWfsRtA96Ccqxw1cakO29bX71gBKt3cX0Bj8XWeGk8wABxcUPeEdKQGOOUg1/VFUKc+tXYwcmmcQ5P+qXn2oe3WByLryeXj4MNvL7Zf4JkG8RdUMTZbwNr/tAF0QNS30+LFeA8SpTJznB4sM8zieomZshvjwyy3o7L5E4pxrih+24ppRoZNFrS3r3BzfcPD6IgjAhitmr+wWonAZ2WkfmLum3zjjOSnbYZFnoEUUnhuwMiHIKX6g4t7lhHagNzJn6KixV5J3i6TBIFofAhUUnQsXQ0g4ZTIDsFTcowdNRlWytuCZF3WpOmZzZeT1twWoNPM3gyxN3IM0Lc7GKLkGmxqJsZjvRQl5l7GtxJrUaIjUh+64EPGmedXVNNnGSFx3Gx/qHlwFewTZp2QS5zPCpKJAHY4vVRwhue0Xx6ia8+wC/PXuyv9VQ8hoyGjsZx7pwpf45SstPeZ3RquPf22ojsa9+e2pumLvjUdhxsxKw16EpbpS0DkoVXN/ekp3jxA0SRWd93ojLylCMRDOd51o8ORu+To5XzK0iU/tPXxujzb1oRV1ZyQdIgCWdKh0zTIIAGaM3IO5T9xKUdTe+WUzsqNuHkBYunkFjmkGa5WM4R5Lcm9Nn2Ylvf5GGWCIfwFKFMyr1A7SLQDzjvDrQ0xciuMqeQaQvxEm2Brr9fMjcmr1zFuHNON4rOS8CAkfUX56C5k3rXbNgipn4v2iS+VW9ZXp32cTb+0VfBe6d98/Ir01RYSXRZ0PRsejIVTwZk6JKrPQS3EHOkGqfApbSu9ue6SW7m/CyVPahj0QdHz265TCKqKCLUGOZ1LSD/mA4/ac3FQBMGGZD1v4Qz49TzgYy5KlgUE8jDNkFaqV8S8pWRzG7d7Vtk3SAe+cSudNXz6qlDdYc+FpMG1/3BlLuAVdEAd70xNJmTSasc24e7JEkw7Gn/a4vllBG5ZlB0E+acp+pcygxk6TZK5hcg6XODp7LEEkzciWYpiMajJz/E7l/YD2o/6fjBa6Oz3VX+FG2J41jc+Qlp2tQWzwLPeoVBG8GJTpiV/J2+1B9ChgRIbkamOqeaAsjxV2kiAYK4WY5exAD1cUfNJAHo7RUIIElq5BIqPVGXS4rHFSe9KSeC19q2C9PCL1T8B1GOYzdioTt2IPLdUgQPFtdwe4MHBco/EObAx/OyAJvAOoflXeENAmHiWElMPyqH8NLoXWpFRKYnsT/QATzTIIjBT6mXWz1sK09tpDvVBI7n6EZ3PCvkLaAAdoi4qVZFe4Uz0dd7cWWmX55E0HvA/4dkHj2cIe+NdZJ7ghH7zLcPnZNQdf+u3Bb1MpMVsZMsxaGAiAdHKzq7MbSepmQ48cKW1FkNev8v+YoKAquaHZw6VmlTdgs8Z3pYTYzO8mQ3OYr4Kb6xNHGtqey0EhGGbLIrJ+3sxJ36yxpwR88ZieQIh57NT5LhsGhFTxiuH23htTyOZ3gohppd2c8ryOW+5xGaxHjQAntPb/y3zghagillaoNixsgEG29vSn+CSKAhC6oUO9x4PuKTrTNo/e/SVHtPdwckPmwRZuesvOPJ+GFl3dmYtgQtD6DCIZr5xSdWL/3tXSRi17JtTsA/Yt+haLOp5plUnmmEYCa8LUygkUd340HSwFWbdIvN0tC4N8/Fp9haIollhIcAALXCuAqaEtUFofu68X973DcUVK0+UMFhNNjLtbCTcbmyffUVfu8px0z/T9mXSZ1VwpzRTHgFtl7B3jUmDQcIo/x+tEo5GTNM7yX7jT5skubZ4S2H0zvisam/pkOS42fZf5lYK8fA6VeNskndZs8dzBXpMaqQgWN4f74nijGeSTq7/5mNjVSNOAnjr8GjQEvGCpgSod6U2EUCkveaOZeCEab3SCvEVn/kD9pbMersANjGpv+bnlZZeoDC92VM1HM0yrqyHUSt8Pvq62QwPFwnNT1zFW0xv0sMkLPs4klasccV+l3La4aWEju/xEWjLcgWwcCzINVYQr+N7fJiCwA8CFz9VPVggVHkOtxnxmn0dOlvxMP9pWuxluGujDMMTO+BNRYvdsUuKXfSgWsBV0A/VB7SjcKFZIxR9lVppLNhMXa9yLuoRSoPKQ/+Tk/aO2Zh6IHhDpKZNEgWU2ylyQEPDzh2Fzn6ej0rKUDPH204qgGpPfGCSsfS9dea5ADgfT285LkPIQfXDC7mjTl1VKxbDvVrzr4gGHLfKMaTUL19s0d0sCdjhxiwnWtWtDDbsoxCYUYM/+1lhpUFsnQ7YcHl+NZzltLBuXl8yteIV8uW/UqfM5ZfIGKYEs39DMHXWhsdd9A73Exz3HruNLwvsxMYl81Edj8iXk8ymCXd7FiXRIFzf6OMroHWx3IKgGKJh40J7RZJjlIW154Uqzdruxg5JpiDTOsC9aNa8CRcZm7WgShjkZNRmEKVT0iWkxytVgxFOo+20myI6Vuqat923WM7GyyN4V4qpVEN8I0IMpIpxNZvEiPPNTx0GHX2kDw9z6VAAVwghU/6ewFpTbGmvcce0kyi4PlqwqO2A4OetwQK24pp+ixRqlWfe3LINzW+TuYRyTqTtZVO5i8R8uKWg3nqPYYH8v5nK82bBTv2Vp3OpyquGDr/abB5rC0B4sKlT9q8XOv+rt29s7DwjMAoQFHQtj8pGloaOmHS2kwU2BFuh1MsV9uwmqYkX1Qc+d/mMztTMnYXpiqXhR9y5jK7Stt/P2M2NsQByDD7aoUrn8NzRD5u3IcvLkSElOUTdQzUj6tA8Y/dtGxSBwE1eXl4UIbl4ZPgzEFe0UDfDgGlX0xGNFYAlkqB6Zw9A2D+6yRliXGuO1jSnP6R3QrrXXmmHjk2QE7VOyd5v4ngUzGF7oRKZoy1jm82Ty/bWAsVJctz6WRYyGQ5ml3I5MZ2SIa1sWD7M+Jj5SA6Nl9rpp4frS9SnYfHoDYS/A9nyHb03GAy7fBqcuLX3BfY4BrSXJG/MfBHKo756n+TqsZNBOoofBI4lhW9C4qHtpo6DU+FK1NpmYENCKrECmtWVzsEFdzYYjp0xuB/8Wf0m7kkh186UTSfrsSVHW4FTunX67XJHFRa9ikmr/jMjSkDPEA9phCsJWN2ZA8X4mK3iRGKLLb3iv5gwV556EDwYMawKqXpNWMDcSP3n7t7+mlsTl8kHY5FvhTqKJmYHKbSgfImZpXLXwWxzf0zYbIBmejuhbEwbFBT6yKjm1CRzDP5lmdwU1QHuEjiyrngbYmrxwvwjJAbOaQGthrHUm2t3+GOg66NfEnmtVtSumlJqx0EqZ+t4h0Vs6dBZnqCfzUUnlcMZBJ41DkVaX4Hbl4jBnGWQ8dClBTD/mBrHg3pEIh73j2NQwjvY6dOSlDc0FtyDMmLLrvM+MDyOXoT6X0CfAfKE6C6iopBGNyT61kt/uIAdAnXi7/PmjO24wX46JiTsCnO4lZYy9npH1BYh9O06xFDgPi3xNiyeHWhWxsX+K0I6HIbACAP9A1qXyMB88zU4ERodWe4USWqFJj2R4Aqb9rsQCbScrN6LwNpBzvA7TluQWuiUZAUb7o4ymuaT7+odLYzgcvIdlTHUdRaY2AxkhDp4/IaJRF4l4OWYF5scIQEyZNLa50MYgcE51r9mJCMvuO3VqPliz7xpc3Ya02wqcHIi8vwwX0CHQ/Z0QGDB7LvfOYC1XFwR7TRYcLa+I5fpK649/kR7W5jP3mTav+WFq4Dzzmo+UTPzS1XdtC+v7c8cIQJZ0WSVKTC06ZvFQ0yOshzF/s2jn9sc6gckDIU36Xwx/XZrXqWBZFjN41b5LUlag1K//knanVtTAtQmu7Dy8OmvqcPC56UudCNKIXd6pwwP+pxKzIyK+8bxu6fPPrcZlm5R1Qu5y3bIUToXdC4y/U7wxYoiB0ZO5hDPVWHihMc5+MzBfPpnNmJw2EwS81x6uek5TLMbqJKWpf17yPXTOaALfP3JApPgZyHxpSFiDW3flkIX8IAOuhVC9wpCMmHLvVtJx2DqGcg4Npna0AU2rkriugihlC4FF4rG7Sp3YzsyPa1Jl0LsHxFV1FiLqb6wHDtZSvWrX5slURXXi1vJCMmZHkQ/c5qStHWpA7YWQ9y4wMwqAcCtA4xL73Lw8L2Cb+MlZQ4Mzjz41ny3qKrEyIqf84HC9mT3OPr079alUVfs7CugAxdh1NTtAMVVIyJCX/Im4jcmpW9hBWzxtPX9fXLHp6rdr9B/n97XUnR5ceyQsUXpgnH6SOXxrYH35dlw2CkhieoQHSI03VIVXhfm8pDvuNiRaUQ6WlaDkGj1sZBhCJJS47n3pZflDbIizmZWqzYP4NT9owAOCwgpcXT2Qzwa2mA/MhJ1eVNyfV5kyuKfYtTSFrn6K0vfGhyRUk9A2LBy3TJY+ai1nuXYYOkRb5Mn3FyZPIOt7hCadeNWKHI5dQkA6S2yjgjoaBbcBB96CcXynpom9rwqIeGsOeMSDIG3lUhBCuGAn+n2uLKAsn6XhfIfZ6Dw//15rtCqu46w/2B6D91ZwadCNnSWBcYKX9BlWvaVJ4NUrPNT/Dhdew/MC9I1mNYmXPtblJfzCkYS9dojaR/y3ikXSuGyK8VpgAhvZQaJ18vCtcHCBvDpyIrQa/LpM/YougZdgRuj4znNK4jgfmxnstAkIHwjTA8gIBshbBkLJQcREqr1YgBX+QBlEC6+UzAJoWIrN1/EMkpR94vSWrGeT1MlD0bjGwNO9tiPq6lK7csArQeCj26LOgYkWYhYzn3y2BZJdtReYRIAcOFosef56e+Lz1DfyZU121ZfDINrf+hEXk/ptIB6f6SrdAkwxPcnk/6JgCzB8yubPlG9lpWHC7KuxZEA20gSMZNLbHBTOKJvFCjjH0gr17S4Nx2BoAuiwvqcNGIKy4m2q4jttRGJWH/uasIeGeMMnmZ7DECkgHncVtBPCxXf7P2656NOw68b542JtGmkNNut70bvdTSGKOdYivpJiNZtM/RwMCMlp0tGZuJcCOWcyMCSdGs8AtShVojxL2YKKKfYuOOm9pUFlm9gFCXkirb12kZzgGXAd2PTFizeHT0eIIrXuQU5jP41Wf/XahopI2ZVzTzYOtj6PK1kS9jvSAjWxPr3FoEZEmAtixdd9XtbHoBCjMrkAD69T+MxTsWEHUexBByTJWRReRuyD5ti4v5RFbcIMIvjBgQ6d3wqLsKXm6BS/QMmK40q7biEsLUogA7hX7Ix5lTkcDYA3S6wDEm5qWPd/9H3d3Gw5QhMGF6FaAzaUvQmAdJh+a1ieYqpbO3MK2t5RIcFxG10o4bLKxWauElBzgbasK7J5q/FUUSiLuO3ZAfwhTRn82vVxGZdR2F0PCkDfg8q4ysqB/LjKLEhqIAH7ntEvJyMU9EBz8Pi75nCp/rFhuRrINiJnhQOzDa8Ld5yaGY4LsuBQEsf17DMl6c0JalrY82ti96jhxkwWbBtXI6M5KjXWpBSOHh595g44CjU+d40/U8vxNosyZKn/1cQVT5Of7mWVOeuZkgG1jxVq9YEtdJJYpn403wEdJTkyqfkNh6Q1DT4w5b6j0+MDN0eu+AbAMwL6aHHrM6EoDhG5ytycFVuTRpr4S8ZXe60t+zmBVIug5ZKoK6hHD1w33fZFNY6Z/Upj63FHUvDLSfq8AOrlta3Z/l2MXDfUf2DFDpADl+s8Jan5YhmHRMUYbt888D3Hj78S/LpDFUcdZGZeG3+5cg2IV6Y4VxaObp/NbA8Kv1x34iMjURfFiTayI2J61hg5VegZr86As9TCIqZKYS0EMQXUVIOwBbXrvr3MHHwPRnUgBMqW7B1lq5LpHTtIlwbi9XYNxfui25Horel26CwY0X3bNUuapQ8tNmvlNhNDmmNYRKpzWl/eEJTzMUMfUtew1/+4NUEB1LVSd9c3TZBBxgzcWMQr3tiijPyFiIFE8tkcdfN+5Z6HmzvdPw0CAPq7krS9nEUYeB9OEJT2hIhw+wi7u+3VO6ZzmJXg5F/R9+L7FGVconHq75S1/sreuHNDUsg1wmmc38lVSHspQf9NV+sOiZiqgNfDhY+cv9viJStFQo+nzhul578C4th1p9INm3B4IXg/tKEsG7z10aLLTyTx+KtIuaC0p72m2psTaLIW1d3qd+gnBMQqagR3wFx3fS89IL5XQqXXM+qF6NXxJczzNronUuT1pS14mIX814GvvfnzTm23Byw2GPOrkDWOdWkcO58Wirkc9F0RebICIkbj2rciwrFQB1YF7a33TptEKFxENytDl4mB9TJNEtWuk2aHIiouM+y/HzjEYgT8SKd7VJf/ciqFBa1Z07qVe6VmxDCiLpnvsBkg8r0q4mhzoLu1Iy8o9HuY+b58dWV8PyAucXXq399uStrLGwL5axj8ZgotBMyz5l86tZo070ogHB1OzHhPll6Ro6JBPP7LbThckFpAclyhQme7Ez7o6zOLyV919zldK16zzgN7zgBihElrUuuFqvonaUmO3mBe3m4zuqNxCnKuJr8ycuvPxU5O3YZzqwUA5GZyxY51TrIvocHI4ts0s4KRibXmRqi90J6vKBVu5Gj57rw7w8F+HeO2gWiAlwub5I62O5oz6symiIQeTEa36/nL22MdoiGUBfkA94kWSMHqQ+JVv3CN5gxVUBTCNKMUS13unnETl56USnxFFXtQdEpk9RyOKPDrnADAA2GMlMx2OFNKUhkWetg0Hu91OtHl7Aapdk7dSqrqTQC+LGJG6Oi9xZ+EnnTCUnU3O1AhyZBP9Z/2YXKpLlakJQEbcnHhl/w2PAb5OF6oyU7w8jRA/f2OQ5X0fpj9UQyye8Mksz8m6mJTtzFZ+U0NEBYAg2iyU+Y8ppy1Fz1slwtgVXLik4elL6i2Oo9p2KAEhnyACREepl2VJRNM+bWzWhvuFrHM3bzxCV9Ibg1R21elzkd+pviej+bHIgEt2UutZMoQYH4FHuRglnORDP7TZziytx4NwWoJkFAjFBdGcqxu0rd4tVRipkPHAsFrCtZfw2J+Jtg/2ej4w/eInwPFvw3hKW59kygQxep458o8uransxJTNFXAIaWagBp+/O6yJE/gkKCs4pawSQw20h+091fApG8O7cSVqDBi3l3LLFqKb7JMVPa4q5kOtBg95OH7ISoJRjKd5YSle9m9g/Fm+9B+DQw9Tu/iXvA2EJUFmkpP6gQ87zvJ3X0V8Dklq6GONe2FbSPEhn5kzDaesk4H1ykhvYH7D8ATYSy6faqy/LnpaPg0LnzoW/gSqRAvICcbEwzxceCElrjRmS/3h/sXdkSIPnwc1/fyg1Hh7d6WI0r/HaDX7C9CSgXobc6lqIgvgYWBZl2OdhxkrOmUYnEMMM78GCIXKYMRpho1P5jChu282PORTyo0wWxeAPI8HfhUImt5dpi3kwPLCUogD2I3wyXvdsvwbmvGC2wFao2ym4erYK1F45OwHI91/Qqt2kxgD4vOn8Q/z4AaVIemQDTi/DlKnOdiSeChIESLe/S+XNJr57y0RjGb82m3+hJaeRfBJ75uYAo/0j2E06DfCbQeLo6MzwPOlOCtFwSdm60WOQ72L+HYamaRvkArTvHFactk0VwyYaNhoE6vE8TKGBTatN1xjBeECV74e5WwpVfZszwa6AOoyt2JbSpl7QK7VY/sT0EYV54+xa04fqykL7NNkkJzg8vcBWf3uiyI00nrPDBOqoeTVJYcwBpAhtLcgWGyslxFgYF0E4GGM0+8FR+zHkyGMQRPEpxp+XAa275BTylhHux+uYtFM6w7j5SzCWv77R18Sg7/VFW74a/HAZnQUVXr2sfxSHijxoWx3Oa7pXoro6vs3wiq3Ql1/Ofhkp0a+CEErCCdr2GOXbLpJ/hCEyMJDjqmosVC7XUv17RL/JGni0+BuoppkL9CfZn8L2KJmtXOgKn4Gd94M3SLmNJEJKgSKb7lNZj1Q/B01TBgGq06Tz3z8kXKH58PlVZM4jBzALoIWB1kDejn8dP3VGl2zAv7RCXKcoRG4NgZpJAds0ME33BJiURbN7Hafc+Utu64OtLwC+6UfSaX/55QEj6GpzPvCvWtgII8zlsIhDehxM36Iinx0JJCZcDL7jF2trOHedCENDYisQBGrPYsER3iRVkDJu9vpj2zs1bqdi3pZkJ+rp2VIKdNXxZl0pmQZqNPIrN7HQXWGSri1kU7oMM3PrMWdhdILwRGitGaDlWAYgYgLFABd2xnqedCzkkXKarKBLGxubVtVNqjDtqy/c3yt7sdwlh26psQpggDCAyeiOGjL0RHKBK+5SHUZRuVYoMhfSgtS3PU7k3DqKQU5tdAAgHBqXArblalzRVx47D4r8Umg9JsN1SflZK6qNn8dSbZDB5BSoWZOIli2KQLvmTPz8BC0TUqnLWwzdkUK+B/QLWdefO5KbHUWxKqUq+KCSYlC1y2N2cne4N0P9jq3Gkn4oYSyaTADA6ISznCt27oZiBB1OCKJE60XJWqdiTJ2BtMJjn5fPYd717HnCyab2kpkfLD6j7YP2viI1TOMTTHDriHvEXCf9cEtfjmz5k0sdO715RMpltZXapoAv107WYB87w4c43gY41lMyV3fxf5MPbEkQt8E8rJW/+cJ3Z8vJh6nebHigapUObjMp2HaVrfHgpMMSkjrwYqJ1ueJ6j0z9cKX2FVDp64LzKrZHGN1XJigZy7yZSXVGOv9D0D1LPUSFy62fk27o3Vm8nJ1ddSB9AeIzd3WinINctEVIPRGf4JCOozZT0jcbG83/9pLUiuYInOapUd4sfV07dXtX/cU0qIC8ALUNfwyJNb2V1irRv9AyjL77qYEh+q/5Tl2mSHiZouB97CU4YxFhYbpyZiy5BikvPw8rsHFvgPHW4FyBEVwdn4Bq9e6gVAY9I3ymszzbHIRA3WgDErE2iMRloznggsQlPmBDsgIL9msgeiroHT0TxMX+Be984bB20d/mAVWyr1B6ozaaTQQEe2i26n1d76TqkN4BhLAid06vqSgz7rFLQUFc+gA3XF/9FohoQf4WN8zPqeK31KrUCyqlT1BnUSQwkwIeAQqsV3Pjp7RqcL3x2rfCqEMawR/UIGRLsd2kFbKt9c36Vk084UsGzIVL2xZkVws4QeRsn9FawXphS0m6fGv5jrGMfDLjI3nKYDzl98H5JkYAKIfufTwHBH/umsMAYlKRan6WK8EpBChXzXX5vuktMkKl/0xYS9nh2Ham25UT/NCfd3mtKAcR5FBFQysNoKsJy4rMcFsLkChhW10qoDEuStxd0q822u8zNW3eWx+ur4Yf5RM8+qeE9r2cQZ+bTlAC7geLWz7YygzXVBxHA03o/RJhls+r1VKlyRUYPB+gMAk5hBMqp8g3JCYsQw9ehEqF6GfeQW+bnUO/WBccKt5bSi05DCelJyKF0OT8rAGxCqCTZP0RtjujsSHxazlIJdt8RDdiqBNdtwwmNyNMX6IJoXwOf53CIDdkfkswaBRFuX/LHyDEZKkiWt1BS2zOpxBa8z+sbQ3UOuS2Tw9zll6/D9Kmrxntsxwwx7jQGfg5sIWx2M2hUZ/+r0DSHu0/SWv/MXECMgUBIC7qIg8T/pmHwJh7GDMxGYa5+T7vzJx1LzX7TY60erc6Rds/itB1vysMcJ/vj5Jx/6h/Pf+EenfuuRBVpoNG8ujQsArPP0I9Hpg3SPMv8fXPCd4GypELJExFBVZeoRnFvcqzt4ReDls6XxE/GOF9ar640OeCrsMkcsknE42GZrTwYeaSK4p0fboJAby6h0rBZf2O2JzSf8953s5xBGiowBkO5N3z6YUvfRFYlU/bes30ZJx/dyw7S8dSaDOMqiIX2S9nlmtMIBdkfDjPHwwzaWNodcir8t47PMZIQg+BwAVJv8EoDz88Axgu2VNN6maGDL/q2SyAPqs1xhE9UxebEuQhgiJjmmQWl/vbHNtpeAD1EMjBzTj5h16fbkwtedJS27Z96LbmyGpC4CSb3IR2ekUaeb66CUE+z4+ki176Eh8R5XPYv9r+dhhAFYYMLwHh0XUzfLQ4BmmmxhPfWAF4oaQL04pUZt2Du+xMybBclUWOBALfKo31ZBxE+a//toHEMUMQx5EJjalfBaKYVw1D6iWO1mePtbrpN/Fc+Br4s6nh6cpKecNiRh7Xa/LuSkE2ORzJY3J9+/GOqQ87Eo0ik7OrJmhb84fnv5SxtZ48U0j17ygKYdauVpjpnbAhgRXn1sQK2BlA2W43Onjm5WoNeGdHndJ8YRpVdOcuLHm49Iwf7JPfDaBlvjtksNYMySVkuAvTN758cxd4cnQLRnxTgXpMUhKbleKR5/nG8J9gJ0PXJYgl/ZII+Dwy05Nfybhi7xk9ZTUyPJKD8ccq89jTDhPWjLq5iSQmYKkcdny6y+5zj1uBY75MXKhybzFWGHjom7gyvnjBPwnurP7M/rBx2RVlXM1vBeXCH+JPYtoYar1DxGptuKa4BXx9VUAb7EoznGYc67GQ8MxMunhtwwrmxCNNVD1kaVk0jaqynJOl9YpBuSk9WeSEczHhbPuZfABzQPX3ZdjBfhbRKQNUxBnIRVlAkYBtHtvJ1m4ebaPsFAxCds9ybjsFgcdreauV8EYGpQ1OzKCJy10h+fIJZH5+KokhuIyIaOj+GtqU177t4b8sEjKDG9ky2GQvDyfLiqOPXEdZp/6iyMwzj8pNs4lH/s/1os+ltKLq5UHpxXzr42+7p9vwcn/n9st7TWZAnMojO4cmev1aiTuzz5WrZMIG7D+ua0eNphjifAMx1f7+0Rn7GFqA4B1A+xjpe2Le7wcI6OxInfSwUiGJO0FYnZggnj6mQcd++Y8jWOFptvqVvrn6PdERdeuck6GR//NTkZRzh8++jS02jrONXipKEgtHus+34V8PHeWpFnV4WrXf1EKdoJTvC4pmDxQKxMl/x8XT9UEEcTVoqM86ZADZGVnKc71EB42jAdn0D1zUj2w4ak8xrpVDODlb/ReKaO5l9vCPIn8mePg0VloToGLq33J5ypUbmWMiODVZjmn5FbZtbJw064TEZ19wdJbjx52plWOl2HMQEvRDkVbyh3QgslJbs7WngLkIKR1R2qbVVDmVv1spc62qnSFLhU+9Quj4+1deat2JfqjTu11mYDBtyTuxmZFcOFQmIalTLIWfjh/YDSMpRiETTOOAzoHOxKMKy4J795egNAbCwAMZSFK8T4CS5OX8jEV/anwI36wBuXPnaYDT4h2FF8uWB9Bkp8AzxDk1ONXAen/8mpRnv2cUQ4C4J0A/weMYGCo1KgXDr1BKM1jqRO0cRfJK2WYwxQMscO7kepc6Y4l1Ph1mwmvUAfPZH2ndm+SWzydeQjxAY1PvaqQgjD/SVGnYDsTPMf3Ljm5dDTtI4Y1PF1VqWr7dSvKshbfbV3wskPyY8j2iK6GYaTalykn55zZy7X2rYMyDd1/1y96Pa74CshaqCnug9IdLETmNN5M5JTwoznmuXOZ24Cz2XER38OaGhoI/tF27equ9ADbWztz3l7HfKwxGzA+yCWiHS21z6c7iaJH9sv6XFrOWPNPMXlYZ+QMSYjXt7cL892zZDfscX+RqKZ9yTDkzS3yiPiWsAReyPbp24yfWCC6R9Xh3UVlYjABcv1koaMlNBYOxbVuHMIVe+xLxwaIDEz4Zu4FAf98D3Pj5A6+TvJyaLH1fgOejFdmuCvz9zEkjyqyeKJs6+ISmGVeYN7VXs+ZvrpQKxJD8jI7epTj77adbYSdyxxCZ0KWeCaf1uPHkCGlVxiDw+BDouVdl09LYNYAnrdiUw/iATqujRr5rKIPJ07J+UpPL5fnDWNF8uRmOuefTAsUwd53ZWUcythjjZN2TzFX1YjwPDxsIMSBiu+AWUXLQxaPDk1K2EwLLzV2whoLyBKDjn9iQxNTg0Q+E/Pj4Te7SmeQCzzVr4BC2NW6Dm95Ku/+/Wup6Kh1lEvvDKxQNy75aJqrlplI5hcdhWI7yYzf/oFtvhRWyZ0pktqDAl0x8RIDQD3eEpJQaTxe9VZP6deY7NfjtrTlqH6H4LeFVImvM/InJzdjCgJ0wR0KDtSZ97DoRHUVpLam3w12QOzZPXNW5QTvJfbC0m3tgcHMUniFmAPkWlfjNXPUFYFDbZeZKUXLgyHJQXfp3whvhqUNHfMV2uyAEyPXfjXuuMpb9P84iU1TTrARmyUOmAHXkBjsv8uRoaUi4f6I4St9gCTwJNkRxj+j9yBGTZZP0bvifQNxr3jZ5tc3J22J3BVOx6/GzxThjfgc7lOyH2Glmqn7+s3AdFMzIij7wSsgIb+aXvSZoEWOJOMJ1NtY8vpLu6EsD3AwxiJeQdXO2VsKAEf3krc1p7afgJGa0SJFW1/35kn9VHs4aUpYmhEaUe+ZtJ11yblNA7DybaxcVrlPK1CRSV59k7d7UXvJR5+Qyt0keok+tCYqp9iTpvh2PDRYSmwjqI3wxHKP7gdRiu2Fz+QKMl4+Ulfqmnh0uQ5U7QZHssGvkOp7+z4NnuDABSTwd9MPBWbmPLdGfYleBjTwgzfwh5jRxdBsRWkWGAWXphenqrHixMnq4+00EV/PCHhMiqL+7G7k1PD/gssqUWvMoOlnq5a8LnUk4DX9jG1IkINr4iqCOV1FTQfGuyAQijbcjbLmvPXQNnqhft4dkHClKY8gkK13NAQVM40MeCGmFfbE0hzFYLUF0+SbyYaxKY7usj/Qf+NEKnmglyGGmQnOOxN3B6O/w7jsWyGTqD0zInETM5FOuJrQk/OeWpuN0ts8n3NzlDYFydNy4Y1TFrmeXU0Yqm16Obgy0O8ktPdCgEggkQZ/CAIrEBDrvAGqbdFKh+iNLUZDvFg8PKWWTU4Bb9mtASYqKA8FQEGXMKd9kBMMYPIln8BPbg9+gt9csL0Pk7mOxFMWo143s5nd7byMjEwfqpY46/pgZw+JCM9Kd1n7DtYCmJKMm4u9CiI6tQMigesz9PN6Kmneen5AZPK8Iw1o0yd+PRWO1MTSxEFU7QQ9XboeXeRl9XVHdoVsEOFbrcX2dH2+61twsBvGRSi+dbpk4TKEEc0SNG7r07rwqKK3bBzW1J1o7dq9JA0UHSiUnYrcIleLpHGtEGb3tUi6e2A1ofFGjFP6b2qL51jve/rJTxN8a/KeZ0ENqIbBavCyYRpN1ephYVXq6if1yxoUSguSWyK5XVgvhg==" title="Mekko Graphics Chart">
            <a:extLst>
              <a:ext uri="{FF2B5EF4-FFF2-40B4-BE49-F238E27FC236}">
                <a16:creationId xmlns:a16="http://schemas.microsoft.com/office/drawing/2014/main" id="{99FE2765-97D8-2EF7-89D9-6A4D4004E470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810095" y="1781220"/>
            <a:ext cx="4314933" cy="4528230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76" tIns="31776" rIns="31776" bIns="31776" rtlCol="0" anchor="ctr"/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btfpNotesBox255075">
            <a:extLst>
              <a:ext uri="{FF2B5EF4-FFF2-40B4-BE49-F238E27FC236}">
                <a16:creationId xmlns:a16="http://schemas.microsoft.com/office/drawing/2014/main" id="{6F40655E-3987-4973-9F3A-9DCB55607EB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9529" y="630945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No ads by Eres and Bond Eye in the UK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Meta Ads Library</a:t>
            </a:r>
          </a:p>
        </p:txBody>
      </p:sp>
      <p:grpSp>
        <p:nvGrpSpPr>
          <p:cNvPr id="44" name="btfpRunningAgenda2Level294467">
            <a:extLst>
              <a:ext uri="{FF2B5EF4-FFF2-40B4-BE49-F238E27FC236}">
                <a16:creationId xmlns:a16="http://schemas.microsoft.com/office/drawing/2014/main" id="{CCC77AC3-7828-6388-C4DA-A8C8E610E45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944429"/>
            <a:ext cx="3737297" cy="257442"/>
            <a:chOff x="0" y="876300"/>
            <a:chExt cx="3737297" cy="257442"/>
          </a:xfrm>
        </p:grpSpPr>
        <p:sp>
          <p:nvSpPr>
            <p:cNvPr id="45" name="btfpRunningAgenda2LevelBarLeft294467">
              <a:extLst>
                <a:ext uri="{FF2B5EF4-FFF2-40B4-BE49-F238E27FC236}">
                  <a16:creationId xmlns:a16="http://schemas.microsoft.com/office/drawing/2014/main" id="{B21ED874-6B42-FF69-CBA7-B202702CE40C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btfpRunningAgenda2LevelTextLeft294467">
              <a:extLst>
                <a:ext uri="{FF2B5EF4-FFF2-40B4-BE49-F238E27FC236}">
                  <a16:creationId xmlns:a16="http://schemas.microsoft.com/office/drawing/2014/main" id="{43B6C30D-A18F-B4FB-CCCC-36D60A02B512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Social media</a:t>
              </a:r>
            </a:p>
          </p:txBody>
        </p:sp>
        <p:sp>
          <p:nvSpPr>
            <p:cNvPr id="47" name="btfpRunningAgenda2LevelBarRight294467">
              <a:extLst>
                <a:ext uri="{FF2B5EF4-FFF2-40B4-BE49-F238E27FC236}">
                  <a16:creationId xmlns:a16="http://schemas.microsoft.com/office/drawing/2014/main" id="{6A7748C1-D676-1B44-2D49-F5EFE949174F}"/>
                </a:ext>
              </a:extLst>
            </p:cNvPr>
            <p:cNvSpPr/>
            <p:nvPr/>
          </p:nvSpPr>
          <p:spPr bwMode="gray">
            <a:xfrm>
              <a:off x="245788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btfpRunningAgenda2LevelTextRight294467">
              <a:extLst>
                <a:ext uri="{FF2B5EF4-FFF2-40B4-BE49-F238E27FC236}">
                  <a16:creationId xmlns:a16="http://schemas.microsoft.com/office/drawing/2014/main" id="{B48BD7A3-7E88-CBD7-8783-E97AB007D908}"/>
                </a:ext>
              </a:extLst>
            </p:cNvPr>
            <p:cNvSpPr txBox="1"/>
            <p:nvPr/>
          </p:nvSpPr>
          <p:spPr bwMode="gray">
            <a:xfrm>
              <a:off x="245788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ads</a:t>
              </a: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AAEA68A9-4B27-7B8A-E7BF-D219AD43A6A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" y="943519"/>
            <a:ext cx="260604" cy="260604"/>
          </a:xfrm>
          <a:prstGeom prst="rect">
            <a:avLst/>
          </a:prstGeom>
        </p:spPr>
      </p:pic>
      <p:sp>
        <p:nvSpPr>
          <p:cNvPr id="52" name="btfpBulletedList651135">
            <a:extLst>
              <a:ext uri="{FF2B5EF4-FFF2-40B4-BE49-F238E27FC236}">
                <a16:creationId xmlns:a16="http://schemas.microsoft.com/office/drawing/2014/main" id="{AECD22EE-F70D-8EDE-06D1-7354E8CBEED9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8564952" y="1735730"/>
            <a:ext cx="3296848" cy="399685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100" b="1" dirty="0"/>
              <a:t>Hunza G positioned #2 </a:t>
            </a:r>
            <a:r>
              <a:rPr lang="en-US" sz="1100" dirty="0"/>
              <a:t>on # of ads with </a:t>
            </a:r>
            <a:r>
              <a:rPr lang="en-US" sz="1100" b="1" dirty="0"/>
              <a:t>~336 ads </a:t>
            </a:r>
            <a:r>
              <a:rPr lang="en-US" sz="1100" dirty="0"/>
              <a:t>in LTM, Zimmermann leads with ~451 ads</a:t>
            </a:r>
          </a:p>
          <a:p>
            <a:pPr lvl="1"/>
            <a:r>
              <a:rPr lang="en-US" sz="900" dirty="0"/>
              <a:t>Zimmerman advertises across a spectrum of its </a:t>
            </a:r>
            <a:r>
              <a:rPr lang="en-US" sz="900" b="1" dirty="0"/>
              <a:t>diverse offerings </a:t>
            </a:r>
            <a:r>
              <a:rPr lang="en-US" sz="900" dirty="0"/>
              <a:t>including accessories (jewelry), dress and eyewear.</a:t>
            </a:r>
          </a:p>
          <a:p>
            <a:pPr lvl="1"/>
            <a:r>
              <a:rPr lang="en-US" sz="900" dirty="0"/>
              <a:t>Scope for Hunza G to </a:t>
            </a:r>
            <a:r>
              <a:rPr lang="en-US" sz="900" b="1" dirty="0"/>
              <a:t>strategize </a:t>
            </a:r>
            <a:r>
              <a:rPr lang="en-US" sz="900" dirty="0"/>
              <a:t>campaigns by </a:t>
            </a:r>
            <a:r>
              <a:rPr lang="en-US" sz="900" b="1" dirty="0"/>
              <a:t>advertising a few of its other product lines </a:t>
            </a:r>
            <a:r>
              <a:rPr lang="en-US" sz="900" dirty="0"/>
              <a:t>such as clothing, accessories, and kids' and maternity collections.</a:t>
            </a:r>
          </a:p>
          <a:p>
            <a:r>
              <a:rPr lang="en-US" sz="1100" dirty="0"/>
              <a:t>Hunza G </a:t>
            </a:r>
            <a:r>
              <a:rPr lang="en-US" sz="1100" b="1" dirty="0"/>
              <a:t>depends heavily on static format (~94%)</a:t>
            </a:r>
            <a:r>
              <a:rPr lang="en-US" sz="1100" dirty="0"/>
              <a:t> with only ~6% being video ads.</a:t>
            </a:r>
          </a:p>
          <a:p>
            <a:pPr lvl="1"/>
            <a:r>
              <a:rPr lang="en-US" sz="900" dirty="0"/>
              <a:t>Scope to focus on </a:t>
            </a:r>
            <a:r>
              <a:rPr lang="en-US" sz="900" b="1" dirty="0"/>
              <a:t>video ads </a:t>
            </a:r>
            <a:r>
              <a:rPr lang="en-US" sz="900" dirty="0"/>
              <a:t>which offer </a:t>
            </a:r>
            <a:r>
              <a:rPr lang="en-US" sz="900" b="1" dirty="0"/>
              <a:t>story-telling </a:t>
            </a:r>
            <a:r>
              <a:rPr lang="en-US" sz="900" dirty="0"/>
              <a:t>opportunity to </a:t>
            </a:r>
            <a:r>
              <a:rPr lang="en-US" sz="900" b="1" dirty="0"/>
              <a:t>engage </a:t>
            </a:r>
            <a:r>
              <a:rPr lang="en-US" sz="900" dirty="0"/>
              <a:t>with the audience and consequently lead to </a:t>
            </a:r>
            <a:r>
              <a:rPr lang="en-US" sz="900" b="1" dirty="0"/>
              <a:t>improved conversion </a:t>
            </a:r>
            <a:r>
              <a:rPr lang="en-US" sz="900" dirty="0"/>
              <a:t>rates.</a:t>
            </a:r>
          </a:p>
          <a:p>
            <a:r>
              <a:rPr lang="en-US" sz="1100" dirty="0"/>
              <a:t>Scope for Hunza G to incorporate </a:t>
            </a:r>
            <a:r>
              <a:rPr lang="en-US" sz="1100" b="1" dirty="0"/>
              <a:t>carousel ads</a:t>
            </a:r>
            <a:r>
              <a:rPr lang="en-US" sz="1100" dirty="0"/>
              <a:t> in ad campaigns as a method to showcase product offerings and features across collection. </a:t>
            </a:r>
          </a:p>
          <a:p>
            <a:pPr lvl="1"/>
            <a:r>
              <a:rPr lang="en-GB" sz="900" dirty="0"/>
              <a:t>Carousel ads features multiple scrollable pictures that lead the user to different landing pages, helping in increasing click-through-rates</a:t>
            </a:r>
          </a:p>
          <a:p>
            <a:pPr marL="0" indent="0">
              <a:buNone/>
            </a:pPr>
            <a:endParaRPr lang="en-GB" sz="1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1705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D5E82E7F-A917-1C34-364B-85CA40FE51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82E7F-A917-1C34-364B-85CA40FE51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btfpColumnIndicatorGroup2">
            <a:extLst>
              <a:ext uri="{FF2B5EF4-FFF2-40B4-BE49-F238E27FC236}">
                <a16:creationId xmlns:a16="http://schemas.microsoft.com/office/drawing/2014/main" id="{E0317827-7FC8-5622-A868-E4A8D959163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4" name="btfpColumnGapBlocker606520">
              <a:extLst>
                <a:ext uri="{FF2B5EF4-FFF2-40B4-BE49-F238E27FC236}">
                  <a16:creationId xmlns:a16="http://schemas.microsoft.com/office/drawing/2014/main" id="{BC6062F4-99D1-5791-2B1A-A0E27F0800D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ColumnGapBlocker608648">
              <a:extLst>
                <a:ext uri="{FF2B5EF4-FFF2-40B4-BE49-F238E27FC236}">
                  <a16:creationId xmlns:a16="http://schemas.microsoft.com/office/drawing/2014/main" id="{344B802D-6847-91E1-971E-810102B800F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168001">
              <a:extLst>
                <a:ext uri="{FF2B5EF4-FFF2-40B4-BE49-F238E27FC236}">
                  <a16:creationId xmlns:a16="http://schemas.microsoft.com/office/drawing/2014/main" id="{1D06B41A-8E1A-612D-9F1D-3ECC2DC8432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418044">
              <a:extLst>
                <a:ext uri="{FF2B5EF4-FFF2-40B4-BE49-F238E27FC236}">
                  <a16:creationId xmlns:a16="http://schemas.microsoft.com/office/drawing/2014/main" id="{6C36FAD1-D9F4-CF83-D1F3-2C029EC0D47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btfpColumnIndicatorGroup1">
            <a:extLst>
              <a:ext uri="{FF2B5EF4-FFF2-40B4-BE49-F238E27FC236}">
                <a16:creationId xmlns:a16="http://schemas.microsoft.com/office/drawing/2014/main" id="{60107EC9-8B13-03DF-C427-D6677524715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2" name="btfpColumnGapBlocker595115">
              <a:extLst>
                <a:ext uri="{FF2B5EF4-FFF2-40B4-BE49-F238E27FC236}">
                  <a16:creationId xmlns:a16="http://schemas.microsoft.com/office/drawing/2014/main" id="{D42D302D-40C9-64E5-AB77-7CCFFEB9EDD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542630">
              <a:extLst>
                <a:ext uri="{FF2B5EF4-FFF2-40B4-BE49-F238E27FC236}">
                  <a16:creationId xmlns:a16="http://schemas.microsoft.com/office/drawing/2014/main" id="{6E721527-734F-E671-46D0-038C280096B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198722">
              <a:extLst>
                <a:ext uri="{FF2B5EF4-FFF2-40B4-BE49-F238E27FC236}">
                  <a16:creationId xmlns:a16="http://schemas.microsoft.com/office/drawing/2014/main" id="{6FED782F-8CBF-3569-521C-8E0441DA4DE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154001">
              <a:extLst>
                <a:ext uri="{FF2B5EF4-FFF2-40B4-BE49-F238E27FC236}">
                  <a16:creationId xmlns:a16="http://schemas.microsoft.com/office/drawing/2014/main" id="{EB5A9E80-5F3A-2C55-F77C-D7962F12D72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Table 10">
            <a:extLst>
              <a:ext uri="{FF2B5EF4-FFF2-40B4-BE49-F238E27FC236}">
                <a16:creationId xmlns:a16="http://schemas.microsoft.com/office/drawing/2014/main" id="{CB1F7A2E-8AEC-46DF-AC9C-C19C73CF146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5278" y="1350878"/>
          <a:ext cx="11509977" cy="53601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0704">
                  <a:extLst>
                    <a:ext uri="{9D8B030D-6E8A-4147-A177-3AD203B41FA5}">
                      <a16:colId xmlns:a16="http://schemas.microsoft.com/office/drawing/2014/main" val="3265791260"/>
                    </a:ext>
                  </a:extLst>
                </a:gridCol>
                <a:gridCol w="1903399">
                  <a:extLst>
                    <a:ext uri="{9D8B030D-6E8A-4147-A177-3AD203B41FA5}">
                      <a16:colId xmlns:a16="http://schemas.microsoft.com/office/drawing/2014/main" val="193002952"/>
                    </a:ext>
                  </a:extLst>
                </a:gridCol>
                <a:gridCol w="4535936">
                  <a:extLst>
                    <a:ext uri="{9D8B030D-6E8A-4147-A177-3AD203B41FA5}">
                      <a16:colId xmlns:a16="http://schemas.microsoft.com/office/drawing/2014/main" val="403952784"/>
                    </a:ext>
                  </a:extLst>
                </a:gridCol>
                <a:gridCol w="4009938">
                  <a:extLst>
                    <a:ext uri="{9D8B030D-6E8A-4147-A177-3AD203B41FA5}">
                      <a16:colId xmlns:a16="http://schemas.microsoft.com/office/drawing/2014/main" val="1454322158"/>
                    </a:ext>
                  </a:extLst>
                </a:gridCol>
              </a:tblGrid>
              <a:tr h="187844"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Criteria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Hunza G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Best practices/ Competitor Examples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1147381"/>
                  </a:ext>
                </a:extLst>
              </a:tr>
              <a:tr h="1463534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Emotion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Does the creative focus on evoking emotion?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43050" lvl="8" indent="-120650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en-US" sz="900" dirty="0"/>
                        <a:t>Effectively uses creatives </a:t>
                      </a:r>
                      <a:r>
                        <a:rPr lang="en-US" sz="900" b="0" dirty="0"/>
                        <a:t>to </a:t>
                      </a:r>
                      <a:r>
                        <a:rPr lang="en-US" sz="900" b="1" dirty="0"/>
                        <a:t>capture viewer attention and associability/ nostalgia; </a:t>
                      </a:r>
                      <a:r>
                        <a:rPr lang="en-US" sz="900" b="0" dirty="0"/>
                        <a:t>for e.g.- Hunza G promoted a product by linking it to a 1990 American TV series- </a:t>
                      </a:r>
                      <a:r>
                        <a:rPr lang="en-US" sz="900" b="0" i="1" dirty="0"/>
                        <a:t>“Channel your inner Baywatch babe in our Square Neck Swim”</a:t>
                      </a:r>
                    </a:p>
                    <a:p>
                      <a:pPr marL="1543050" lvl="8" indent="-120650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en-US" sz="900" b="1" i="0" dirty="0"/>
                        <a:t>Creatives highlight exclusivity by collaborations</a:t>
                      </a:r>
                      <a:r>
                        <a:rPr lang="en-US" sz="900" b="0" i="0" dirty="0"/>
                        <a:t> with models/ brands like Helena Christensen, Rose Inc.</a:t>
                      </a:r>
                    </a:p>
                    <a:p>
                      <a:pPr marL="1543050" lvl="8" indent="-120650" algn="l" defTabSz="711200" rtl="0" eaLnBrk="1" latinLnBrk="0" hangingPunct="1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en-US" sz="9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s also </a:t>
                      </a:r>
                      <a:r>
                        <a:rPr lang="en-US" sz="9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oke a sense of rememberability and belonging by highlighting it’s 40-year long presence </a:t>
                      </a:r>
                      <a:r>
                        <a:rPr lang="en-US" sz="9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rough captions like “</a:t>
                      </a:r>
                      <a:r>
                        <a:rPr lang="en-US" sz="9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yle that transcends decades. Back from the Hunza G archives, discover the Solitaire Swim</a:t>
                      </a:r>
                      <a:r>
                        <a:rPr lang="en-US" sz="9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lang="en-US" sz="900" b="0" i="0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91056" lvl="1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/>
                        <a:t>Bond Eye attempts at building </a:t>
                      </a:r>
                      <a:r>
                        <a:rPr lang="en-US" sz="900" b="1"/>
                        <a:t>an emotional connect </a:t>
                      </a:r>
                      <a:r>
                        <a:rPr lang="en-US" sz="900" b="0"/>
                        <a:t>that helps in </a:t>
                      </a:r>
                      <a:r>
                        <a:rPr lang="en-US" sz="900" b="1"/>
                        <a:t>creating a strong brand USP, new product launches and memorability</a:t>
                      </a:r>
                      <a:r>
                        <a:rPr lang="en-US" sz="900" b="0"/>
                        <a:t>; for e.g.- The brand rolled out an ad communicating </a:t>
                      </a:r>
                      <a:r>
                        <a:rPr lang="en-US" sz="900" b="0" i="1"/>
                        <a:t>“Designs made to enhance natural beauty at every stage of life” </a:t>
                      </a:r>
                      <a:r>
                        <a:rPr lang="en-US" sz="900" b="0" i="0"/>
                        <a:t>showcasing a pregnant woman</a:t>
                      </a:r>
                      <a:endParaRPr lang="en-US" sz="900" b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6396346"/>
                  </a:ext>
                </a:extLst>
              </a:tr>
              <a:tr h="1712803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Understandable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Is the brand / product message easy and clear to understand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Does the creative include visible / clear call to actions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Does the message clearly bring the brand proposition to life?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43050" lvl="8" indent="-120650">
                        <a:spcBef>
                          <a:spcPts val="600"/>
                        </a:spcBef>
                        <a:buFontTx/>
                        <a:buChar char="•"/>
                      </a:pPr>
                      <a:r>
                        <a:rPr lang="en-US" sz="900" b="1"/>
                        <a:t>Short &amp; crisp descriptions </a:t>
                      </a:r>
                      <a:r>
                        <a:rPr lang="en-US" sz="900" b="0"/>
                        <a:t>with scope to increase customer interest by adding additional details such as material, sale, discounts, etc., in the description</a:t>
                      </a:r>
                    </a:p>
                    <a:p>
                      <a:pPr marL="1543050" lvl="8" indent="-120650">
                        <a:spcBef>
                          <a:spcPts val="600"/>
                        </a:spcBef>
                        <a:buFontTx/>
                        <a:buChar char="•"/>
                      </a:pPr>
                      <a:r>
                        <a:rPr lang="en-US" sz="900" b="1"/>
                        <a:t>Easy-to-understand</a:t>
                      </a:r>
                      <a:r>
                        <a:rPr lang="en-US" sz="900" b="0"/>
                        <a:t> language and </a:t>
                      </a:r>
                      <a:r>
                        <a:rPr lang="en-US" sz="900" b="1"/>
                        <a:t>call-to-action </a:t>
                      </a:r>
                      <a:r>
                        <a:rPr lang="en-US" sz="900" b="0"/>
                        <a:t>present at the bottom of every ad</a:t>
                      </a:r>
                    </a:p>
                    <a:p>
                      <a:pPr marL="1543050" lvl="8" indent="-120650">
                        <a:spcBef>
                          <a:spcPts val="600"/>
                        </a:spcBef>
                        <a:buFontTx/>
                        <a:buChar char="•"/>
                      </a:pPr>
                      <a:r>
                        <a:rPr lang="en-US" sz="900" b="0"/>
                        <a:t>Most creatives </a:t>
                      </a:r>
                      <a:r>
                        <a:rPr lang="en-US" sz="900" b="1"/>
                        <a:t>focused on products/ collection lines; Scope to bring out the brand proposition </a:t>
                      </a:r>
                      <a:r>
                        <a:rPr lang="en-US" sz="900" b="0"/>
                        <a:t>more clearly by including more creatives talking about the </a:t>
                      </a:r>
                      <a:r>
                        <a:rPr lang="en-US" sz="900" b="1"/>
                        <a:t>overall brand in general</a:t>
                      </a:r>
                      <a:r>
                        <a:rPr lang="en-US" sz="900" b="0"/>
                        <a:t>. </a:t>
                      </a:r>
                      <a:r>
                        <a:rPr lang="en-US" sz="900" b="0" i="1"/>
                        <a:t>Opportunity to play on the longevity of the brand, unique material used, etc.</a:t>
                      </a:r>
                      <a:endParaRPr lang="en-US" sz="900" b="1" i="1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93850" lvl="8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Oseree &amp; Reina Olga highlight additional details </a:t>
                      </a:r>
                      <a:r>
                        <a:rPr lang="en-US" sz="900" dirty="0"/>
                        <a:t>such as discounts, launch dates, etc., in the description itself</a:t>
                      </a:r>
                    </a:p>
                    <a:p>
                      <a:pPr marL="1593850" lvl="8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Many brands </a:t>
                      </a:r>
                      <a:r>
                        <a:rPr lang="en-US" sz="900" dirty="0"/>
                        <a:t>use creatives </a:t>
                      </a:r>
                      <a:r>
                        <a:rPr lang="en-US" sz="900" b="0" dirty="0"/>
                        <a:t>to </a:t>
                      </a:r>
                      <a:r>
                        <a:rPr lang="en-US" sz="900" b="1" dirty="0"/>
                        <a:t>bring out the overall brand proposition </a:t>
                      </a:r>
                      <a:r>
                        <a:rPr lang="en-US" sz="900" b="0" dirty="0"/>
                        <a:t>quite well</a:t>
                      </a:r>
                      <a:r>
                        <a:rPr lang="en-US" sz="900" b="1" dirty="0"/>
                        <a:t>; </a:t>
                      </a:r>
                      <a:r>
                        <a:rPr lang="en-US" sz="900" b="0" dirty="0"/>
                        <a:t>for e.g.- </a:t>
                      </a:r>
                      <a:r>
                        <a:rPr lang="en-US" sz="900" b="1" dirty="0"/>
                        <a:t>Bond Eye </a:t>
                      </a:r>
                      <a:r>
                        <a:rPr lang="en-US" sz="900" b="0" dirty="0"/>
                        <a:t>released ads communicating </a:t>
                      </a:r>
                      <a:r>
                        <a:rPr lang="en-US" sz="900" b="0" i="1" dirty="0"/>
                        <a:t>“handmade in Australia” </a:t>
                      </a:r>
                      <a:r>
                        <a:rPr lang="en-US" sz="900" b="0" i="0" dirty="0"/>
                        <a:t>&amp; </a:t>
                      </a:r>
                      <a:r>
                        <a:rPr lang="en-US" sz="900" b="1" i="0" dirty="0"/>
                        <a:t>Oseree</a:t>
                      </a:r>
                      <a:r>
                        <a:rPr lang="en-US" sz="900" b="0" i="0" dirty="0"/>
                        <a:t> posted ads highlighting </a:t>
                      </a:r>
                      <a:r>
                        <a:rPr lang="en-US" sz="900" b="0" i="1" dirty="0"/>
                        <a:t>“Enter the </a:t>
                      </a:r>
                      <a:r>
                        <a:rPr lang="en-US" sz="900" b="0" i="1" dirty="0" err="1"/>
                        <a:t>Ose</a:t>
                      </a:r>
                      <a:r>
                        <a:rPr lang="en-US" sz="900" b="0" i="1" dirty="0"/>
                        <a:t> Club and get 10% discount on your first order” </a:t>
                      </a:r>
                      <a:r>
                        <a:rPr lang="en-US" sz="900" b="0" i="0" dirty="0"/>
                        <a:t>to initiate customer action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3149282"/>
                  </a:ext>
                </a:extLst>
              </a:tr>
              <a:tr h="1635673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Relevant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 dirty="0"/>
                        <a:t>Does the creative reflect the prioritised category entry points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900" i="1" dirty="0"/>
                        <a:t>Is the creative relevant to different types of audiences or does the brand leverage a one size fits all approach (shows lack of digital maturity)?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endParaRPr lang="en-US" sz="900" i="1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43050" marR="0" lvl="8" indent="-1206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/>
                        <a:t>Most creatives </a:t>
                      </a:r>
                      <a:r>
                        <a:rPr lang="en-US" sz="900" b="1" dirty="0"/>
                        <a:t>don’t look to cater to any specific demographic category for women</a:t>
                      </a:r>
                      <a:r>
                        <a:rPr lang="en-US" sz="900" b="0" dirty="0"/>
                        <a:t>; </a:t>
                      </a:r>
                      <a:r>
                        <a:rPr lang="en-US" sz="900" dirty="0"/>
                        <a:t>Scope to improve advertisements by </a:t>
                      </a:r>
                      <a:r>
                        <a:rPr lang="en-US" sz="900" b="1" dirty="0"/>
                        <a:t>structuring the content to appeal to different categories </a:t>
                      </a:r>
                      <a:r>
                        <a:rPr lang="en-US" sz="900" b="0" dirty="0"/>
                        <a:t>such as people planning a vacation, maternity products, etc.</a:t>
                      </a:r>
                    </a:p>
                    <a:p>
                      <a:pPr marL="1543050" marR="0" lvl="8" indent="-1206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1" dirty="0"/>
                        <a:t>A few posts highlight “one-size-fit”</a:t>
                      </a:r>
                      <a:r>
                        <a:rPr lang="en-US" sz="900" dirty="0"/>
                        <a:t> feature of the brand in creatives to </a:t>
                      </a:r>
                      <a:r>
                        <a:rPr lang="en-US" sz="900" b="0" dirty="0"/>
                        <a:t>appeal to different demographics by body type. Potentially increase this ad frequency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Bond Eye has strong creative content that </a:t>
                      </a:r>
                      <a:r>
                        <a:rPr lang="en-US" sz="900" b="1" dirty="0"/>
                        <a:t>highlights use-cases </a:t>
                      </a:r>
                      <a:r>
                        <a:rPr lang="en-US" sz="900" b="0" dirty="0"/>
                        <a:t>of their products; for e.g.- it posted </a:t>
                      </a:r>
                      <a:r>
                        <a:rPr lang="en-US" sz="900" b="0" i="1" dirty="0"/>
                        <a:t>“plan your next escape with new must-pack styles”</a:t>
                      </a:r>
                      <a:r>
                        <a:rPr lang="en-US" sz="900" b="1" dirty="0"/>
                        <a:t> </a:t>
                      </a:r>
                      <a:r>
                        <a:rPr lang="en-US" sz="900" dirty="0"/>
                        <a:t>to appeal to and </a:t>
                      </a:r>
                      <a:r>
                        <a:rPr lang="en-US" sz="900" b="1" dirty="0"/>
                        <a:t>engage people planning a vacation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Similarly, Oseree also released a post highlighting its </a:t>
                      </a:r>
                      <a:r>
                        <a:rPr lang="en-US" sz="900" b="1" dirty="0"/>
                        <a:t>partywear swimwear collection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5388595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D47B63-1B3D-48C6-BF55-511CA383A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1"/>
            <a:ext cx="11857038" cy="876687"/>
          </a:xfrm>
        </p:spPr>
        <p:txBody>
          <a:bodyPr vert="horz"/>
          <a:lstStyle/>
          <a:p>
            <a:r>
              <a:rPr lang="en-US" b="1" dirty="0"/>
              <a:t>Creative quality: </a:t>
            </a:r>
            <a:r>
              <a:rPr lang="en-US" dirty="0"/>
              <a:t>Good quality ads with appealing visuals &amp; clear messaging; scope to target the ads better (occasions/ customer segments), mention any offers/ discounts </a:t>
            </a:r>
            <a:r>
              <a:rPr lang="en-US" sz="1000" dirty="0"/>
              <a:t>(1/2)</a:t>
            </a:r>
          </a:p>
        </p:txBody>
      </p:sp>
      <p:grpSp>
        <p:nvGrpSpPr>
          <p:cNvPr id="4" name="btfpIcon977317">
            <a:extLst>
              <a:ext uri="{FF2B5EF4-FFF2-40B4-BE49-F238E27FC236}">
                <a16:creationId xmlns:a16="http://schemas.microsoft.com/office/drawing/2014/main" id="{D83467D6-FFE6-45BE-9DBB-51CC1C5D74AE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98917" y="1895674"/>
            <a:ext cx="620948" cy="620949"/>
            <a:chOff x="517240" y="1952625"/>
            <a:chExt cx="1100048" cy="1100049"/>
          </a:xfrm>
        </p:grpSpPr>
        <p:sp>
          <p:nvSpPr>
            <p:cNvPr id="5" name="btfpIconCircle977317">
              <a:extLst>
                <a:ext uri="{FF2B5EF4-FFF2-40B4-BE49-F238E27FC236}">
                  <a16:creationId xmlns:a16="http://schemas.microsoft.com/office/drawing/2014/main" id="{5FF3FF89-2024-4ECC-B052-A0569C7DE53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40" y="1952625"/>
              <a:ext cx="1100048" cy="1100048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6" name="btfpIconLines977317">
              <a:extLst>
                <a:ext uri="{FF2B5EF4-FFF2-40B4-BE49-F238E27FC236}">
                  <a16:creationId xmlns:a16="http://schemas.microsoft.com/office/drawing/2014/main" id="{8AA0466D-9F0D-46E4-9F2D-BC4FBAC8BD17}"/>
                </a:ext>
              </a:extLst>
            </p:cNvPr>
            <p:cNvPicPr>
              <a:picLocks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240" y="1952626"/>
              <a:ext cx="1100048" cy="1100048"/>
            </a:xfrm>
            <a:prstGeom prst="rect">
              <a:avLst/>
            </a:prstGeom>
          </p:spPr>
        </p:pic>
      </p:grpSp>
      <p:grpSp>
        <p:nvGrpSpPr>
          <p:cNvPr id="7" name="btfpIcon510107">
            <a:extLst>
              <a:ext uri="{FF2B5EF4-FFF2-40B4-BE49-F238E27FC236}">
                <a16:creationId xmlns:a16="http://schemas.microsoft.com/office/drawing/2014/main" id="{6D7C3438-E2ED-4442-9B9E-350B0A18097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98916" y="5337311"/>
            <a:ext cx="620950" cy="620949"/>
            <a:chOff x="6404832" y="1927747"/>
            <a:chExt cx="1625817" cy="1585595"/>
          </a:xfrm>
        </p:grpSpPr>
        <p:sp>
          <p:nvSpPr>
            <p:cNvPr id="8" name="btfpIconCircle510107">
              <a:extLst>
                <a:ext uri="{FF2B5EF4-FFF2-40B4-BE49-F238E27FC236}">
                  <a16:creationId xmlns:a16="http://schemas.microsoft.com/office/drawing/2014/main" id="{8D68F9B9-3835-4A71-A10F-C283214908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4832" y="1927747"/>
              <a:ext cx="1625814" cy="158559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9" name="btfpIconLines510107">
              <a:extLst>
                <a:ext uri="{FF2B5EF4-FFF2-40B4-BE49-F238E27FC236}">
                  <a16:creationId xmlns:a16="http://schemas.microsoft.com/office/drawing/2014/main" id="{5510E51A-09A4-4538-9335-3F5F7D3F22EA}"/>
                </a:ext>
              </a:extLst>
            </p:cNvPr>
            <p:cNvPicPr>
              <a:picLocks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4835" y="1927747"/>
              <a:ext cx="1625814" cy="1585595"/>
            </a:xfrm>
            <a:prstGeom prst="rect">
              <a:avLst/>
            </a:prstGeom>
          </p:spPr>
        </p:pic>
      </p:grpSp>
      <p:grpSp>
        <p:nvGrpSpPr>
          <p:cNvPr id="16" name="btfpIcon866362">
            <a:extLst>
              <a:ext uri="{FF2B5EF4-FFF2-40B4-BE49-F238E27FC236}">
                <a16:creationId xmlns:a16="http://schemas.microsoft.com/office/drawing/2014/main" id="{ED463CFE-7315-474D-8566-C8A0A9CB20D8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98917" y="3939862"/>
            <a:ext cx="620948" cy="620949"/>
            <a:chOff x="4581983" y="1935092"/>
            <a:chExt cx="1269489" cy="1269489"/>
          </a:xfrm>
        </p:grpSpPr>
        <p:sp>
          <p:nvSpPr>
            <p:cNvPr id="17" name="btfpIconCircle866362">
              <a:extLst>
                <a:ext uri="{FF2B5EF4-FFF2-40B4-BE49-F238E27FC236}">
                  <a16:creationId xmlns:a16="http://schemas.microsoft.com/office/drawing/2014/main" id="{19EBB556-7167-4ABC-A3C5-965CC6D826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1983" y="1935092"/>
              <a:ext cx="1269489" cy="1269489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18" name="btfpIconLines866362">
              <a:extLst>
                <a:ext uri="{FF2B5EF4-FFF2-40B4-BE49-F238E27FC236}">
                  <a16:creationId xmlns:a16="http://schemas.microsoft.com/office/drawing/2014/main" id="{A213AE07-6A38-4BA7-BB6B-F311273585CD}"/>
                </a:ext>
              </a:extLst>
            </p:cNvPr>
            <p:cNvPicPr>
              <a:picLocks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81983" y="1935092"/>
              <a:ext cx="1269489" cy="1269489"/>
            </a:xfrm>
            <a:prstGeom prst="rect">
              <a:avLst/>
            </a:prstGeom>
          </p:spPr>
        </p:pic>
      </p:grpSp>
      <p:sp>
        <p:nvSpPr>
          <p:cNvPr id="28" name="btfpNotesBox612105">
            <a:extLst>
              <a:ext uri="{FF2B5EF4-FFF2-40B4-BE49-F238E27FC236}">
                <a16:creationId xmlns:a16="http://schemas.microsoft.com/office/drawing/2014/main" id="{AED99F06-EAD5-4B0F-8665-94AED76B9CA5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/>
              <a:t>Source: Meta Ads Library accessed on January 11, 2024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AD3BEB-FB9B-A841-A968-C74F2246578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355872" y="3398153"/>
            <a:ext cx="1122215" cy="90903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6A341A1-78A3-6738-89A7-773922F5BF6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498697" y="4215796"/>
            <a:ext cx="1122215" cy="87238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E07D059-3EAD-B180-C3B8-23B781E9477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980957" y="3248485"/>
            <a:ext cx="865867" cy="66535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8F3C9F00-A577-FF4D-9481-3446FECB814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80957" y="4002162"/>
            <a:ext cx="922534" cy="760511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34677EA-A3AF-C212-F5D2-B5BE44045B5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978655" y="1618385"/>
            <a:ext cx="932531" cy="755531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9F53A5F2-0445-D262-44B6-838C97762E1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524731" y="3464053"/>
            <a:ext cx="736216" cy="66535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513C143F-C6CF-B36F-2330-8CEDBAB8160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280695" y="2192411"/>
            <a:ext cx="980252" cy="760511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8DD71064-B8F8-837D-C1CA-E60632039A0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478715" y="4463277"/>
            <a:ext cx="782231" cy="580768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A4DEA517-EB71-5E21-0B35-06380356020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318487" y="1607562"/>
            <a:ext cx="1048760" cy="80559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AD806007-2EC9-E3E3-3B0E-BF5E25024B2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799103" y="2043289"/>
            <a:ext cx="1017768" cy="829427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325BA42-938D-285D-1E51-4CCAD587701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353236" y="5181402"/>
            <a:ext cx="1398555" cy="113679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2ACF5B5A-D741-7E44-4F88-78450E3FD342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978655" y="5092765"/>
            <a:ext cx="1035557" cy="855863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26DF0435-B5E1-7AC5-3DBF-1C949DB657F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461081" y="5688665"/>
            <a:ext cx="869544" cy="85586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11E9708-1334-BE0F-4FF4-811728F979B6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318487" y="2518248"/>
            <a:ext cx="865867" cy="813863"/>
          </a:xfrm>
          <a:prstGeom prst="rect">
            <a:avLst/>
          </a:prstGeom>
        </p:spPr>
      </p:pic>
      <p:grpSp>
        <p:nvGrpSpPr>
          <p:cNvPr id="13" name="btfpRunningAgenda2Level294467">
            <a:extLst>
              <a:ext uri="{FF2B5EF4-FFF2-40B4-BE49-F238E27FC236}">
                <a16:creationId xmlns:a16="http://schemas.microsoft.com/office/drawing/2014/main" id="{7F73C0ED-176A-9869-411E-A099D8835F2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944429"/>
            <a:ext cx="3737297" cy="257442"/>
            <a:chOff x="0" y="876300"/>
            <a:chExt cx="3737297" cy="257442"/>
          </a:xfrm>
        </p:grpSpPr>
        <p:sp>
          <p:nvSpPr>
            <p:cNvPr id="14" name="btfpRunningAgenda2LevelBarLeft294467">
              <a:extLst>
                <a:ext uri="{FF2B5EF4-FFF2-40B4-BE49-F238E27FC236}">
                  <a16:creationId xmlns:a16="http://schemas.microsoft.com/office/drawing/2014/main" id="{C76831E6-D884-2296-FC15-FDC089669230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btfpRunningAgenda2LevelTextLeft294467">
              <a:extLst>
                <a:ext uri="{FF2B5EF4-FFF2-40B4-BE49-F238E27FC236}">
                  <a16:creationId xmlns:a16="http://schemas.microsoft.com/office/drawing/2014/main" id="{8756A889-D5BF-862D-F881-60663C1C2BEA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Social media</a:t>
              </a:r>
            </a:p>
          </p:txBody>
        </p:sp>
        <p:sp>
          <p:nvSpPr>
            <p:cNvPr id="31" name="btfpRunningAgenda2LevelBarRight294467">
              <a:extLst>
                <a:ext uri="{FF2B5EF4-FFF2-40B4-BE49-F238E27FC236}">
                  <a16:creationId xmlns:a16="http://schemas.microsoft.com/office/drawing/2014/main" id="{191FD5F8-C714-C8DB-DF14-7AF7D79E7C3A}"/>
                </a:ext>
              </a:extLst>
            </p:cNvPr>
            <p:cNvSpPr/>
            <p:nvPr/>
          </p:nvSpPr>
          <p:spPr bwMode="gray">
            <a:xfrm>
              <a:off x="245788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Right294467">
              <a:extLst>
                <a:ext uri="{FF2B5EF4-FFF2-40B4-BE49-F238E27FC236}">
                  <a16:creationId xmlns:a16="http://schemas.microsoft.com/office/drawing/2014/main" id="{D194E25B-E146-B915-3346-A8267A65E8F5}"/>
                </a:ext>
              </a:extLst>
            </p:cNvPr>
            <p:cNvSpPr txBox="1"/>
            <p:nvPr/>
          </p:nvSpPr>
          <p:spPr bwMode="gray">
            <a:xfrm>
              <a:off x="245788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ad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97422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btfpColumnIndicatorGroup2">
            <a:extLst>
              <a:ext uri="{FF2B5EF4-FFF2-40B4-BE49-F238E27FC236}">
                <a16:creationId xmlns:a16="http://schemas.microsoft.com/office/drawing/2014/main" id="{4BEB037D-1462-ADBA-F771-F8023832A1D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8" name="btfpColumnGapBlocker428740">
              <a:extLst>
                <a:ext uri="{FF2B5EF4-FFF2-40B4-BE49-F238E27FC236}">
                  <a16:creationId xmlns:a16="http://schemas.microsoft.com/office/drawing/2014/main" id="{24201FD8-CFB0-C68D-0D0A-8D095DA1923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657225">
              <a:extLst>
                <a:ext uri="{FF2B5EF4-FFF2-40B4-BE49-F238E27FC236}">
                  <a16:creationId xmlns:a16="http://schemas.microsoft.com/office/drawing/2014/main" id="{E0050D7F-37DC-1C8B-C079-B477326F494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862382">
              <a:extLst>
                <a:ext uri="{FF2B5EF4-FFF2-40B4-BE49-F238E27FC236}">
                  <a16:creationId xmlns:a16="http://schemas.microsoft.com/office/drawing/2014/main" id="{C8A34912-F50E-A461-6E88-437681B64B8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871366">
              <a:extLst>
                <a:ext uri="{FF2B5EF4-FFF2-40B4-BE49-F238E27FC236}">
                  <a16:creationId xmlns:a16="http://schemas.microsoft.com/office/drawing/2014/main" id="{1BCDADB3-FE85-6635-0B25-BE086D6AD09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btfpColumnIndicatorGroup1">
            <a:extLst>
              <a:ext uri="{FF2B5EF4-FFF2-40B4-BE49-F238E27FC236}">
                <a16:creationId xmlns:a16="http://schemas.microsoft.com/office/drawing/2014/main" id="{5C7BFE61-392B-C7C3-7F97-283439B1FEB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6" name="btfpColumnGapBlocker461187">
              <a:extLst>
                <a:ext uri="{FF2B5EF4-FFF2-40B4-BE49-F238E27FC236}">
                  <a16:creationId xmlns:a16="http://schemas.microsoft.com/office/drawing/2014/main" id="{75F49406-2212-7156-0112-C482AEE9CB1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548553">
              <a:extLst>
                <a:ext uri="{FF2B5EF4-FFF2-40B4-BE49-F238E27FC236}">
                  <a16:creationId xmlns:a16="http://schemas.microsoft.com/office/drawing/2014/main" id="{AF924929-E9F4-AAB2-B4FB-B046CEC6579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891973">
              <a:extLst>
                <a:ext uri="{FF2B5EF4-FFF2-40B4-BE49-F238E27FC236}">
                  <a16:creationId xmlns:a16="http://schemas.microsoft.com/office/drawing/2014/main" id="{DB40D659-D4BC-55D5-3480-15D3F48C9D1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512330">
              <a:extLst>
                <a:ext uri="{FF2B5EF4-FFF2-40B4-BE49-F238E27FC236}">
                  <a16:creationId xmlns:a16="http://schemas.microsoft.com/office/drawing/2014/main" id="{F817FC83-1058-6A76-8C84-BB0D8699490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Table 10">
            <a:extLst>
              <a:ext uri="{FF2B5EF4-FFF2-40B4-BE49-F238E27FC236}">
                <a16:creationId xmlns:a16="http://schemas.microsoft.com/office/drawing/2014/main" id="{CB1F7A2E-8AEC-46DF-AC9C-C19C73CF1461}"/>
              </a:ext>
            </a:extLst>
          </p:cNvPr>
          <p:cNvGraphicFramePr>
            <a:graphicFrameLocks noGrp="1"/>
          </p:cNvGraphicFramePr>
          <p:nvPr/>
        </p:nvGraphicFramePr>
        <p:xfrm>
          <a:off x="335278" y="1350877"/>
          <a:ext cx="11521760" cy="509191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89">
                  <a:extLst>
                    <a:ext uri="{9D8B030D-6E8A-4147-A177-3AD203B41FA5}">
                      <a16:colId xmlns:a16="http://schemas.microsoft.com/office/drawing/2014/main" val="3265791260"/>
                    </a:ext>
                  </a:extLst>
                </a:gridCol>
                <a:gridCol w="1762812">
                  <a:extLst>
                    <a:ext uri="{9D8B030D-6E8A-4147-A177-3AD203B41FA5}">
                      <a16:colId xmlns:a16="http://schemas.microsoft.com/office/drawing/2014/main" val="193002952"/>
                    </a:ext>
                  </a:extLst>
                </a:gridCol>
                <a:gridCol w="4619134">
                  <a:extLst>
                    <a:ext uri="{9D8B030D-6E8A-4147-A177-3AD203B41FA5}">
                      <a16:colId xmlns:a16="http://schemas.microsoft.com/office/drawing/2014/main" val="403952784"/>
                    </a:ext>
                  </a:extLst>
                </a:gridCol>
                <a:gridCol w="4079925">
                  <a:extLst>
                    <a:ext uri="{9D8B030D-6E8A-4147-A177-3AD203B41FA5}">
                      <a16:colId xmlns:a16="http://schemas.microsoft.com/office/drawing/2014/main" val="1454322158"/>
                    </a:ext>
                  </a:extLst>
                </a:gridCol>
              </a:tblGrid>
              <a:tr h="208725"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Criteria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nza G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st practices/ Competitor Examples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1147381"/>
                  </a:ext>
                </a:extLst>
              </a:tr>
              <a:tr h="1999406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Distinctive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 dirty="0"/>
                        <a:t>Does the creative leverage the brand’s distinctive assets well (e.g. branding appears across assets in first few seconds of video)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 dirty="0"/>
                        <a:t>Are distinctive assets (e.g. logo, tagline, characters) applied consistently?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93850" lvl="8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/>
                        <a:t>Creatives </a:t>
                      </a:r>
                      <a:r>
                        <a:rPr lang="en-US" sz="900" b="1"/>
                        <a:t>leveraging the brand’s distinctive assets</a:t>
                      </a:r>
                      <a:r>
                        <a:rPr lang="en-US" sz="900" b="0"/>
                        <a:t> like brand logo, font style, etc.</a:t>
                      </a:r>
                      <a:r>
                        <a:rPr lang="en-US" sz="900" b="1"/>
                        <a:t> </a:t>
                      </a:r>
                      <a:r>
                        <a:rPr lang="en-US" sz="900"/>
                        <a:t>well with </a:t>
                      </a:r>
                      <a:r>
                        <a:rPr lang="en-US" sz="900" b="1"/>
                        <a:t>consistent use of their logo and tagline </a:t>
                      </a:r>
                      <a:r>
                        <a:rPr lang="en-US" sz="900"/>
                        <a:t>(</a:t>
                      </a:r>
                      <a:r>
                        <a:rPr lang="en-US" sz="900" i="1"/>
                        <a:t>“The original crinkle since 1984”</a:t>
                      </a:r>
                      <a:r>
                        <a:rPr lang="en-US" sz="900"/>
                        <a:t>) throughout all advertisements</a:t>
                      </a:r>
                    </a:p>
                    <a:p>
                      <a:pPr marL="1593850" lvl="8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/>
                        <a:t>Audio/Visual creatives </a:t>
                      </a:r>
                      <a:r>
                        <a:rPr lang="en-US" sz="900" b="1"/>
                        <a:t>bring out brand name </a:t>
                      </a:r>
                      <a:r>
                        <a:rPr lang="en-US" sz="900"/>
                        <a:t>in the beginning of the video along with </a:t>
                      </a:r>
                      <a:r>
                        <a:rPr lang="en-US" sz="900" b="1"/>
                        <a:t>similar template </a:t>
                      </a:r>
                      <a:r>
                        <a:rPr lang="en-US" sz="900"/>
                        <a:t>being published across ads, </a:t>
                      </a:r>
                      <a:r>
                        <a:rPr lang="en-US" sz="900" b="1"/>
                        <a:t>increasing brand recall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/>
                        <a:t>Ads highlight </a:t>
                      </a:r>
                      <a:r>
                        <a:rPr lang="en-US" sz="900" b="1"/>
                        <a:t>brand’s appeal, font &amp; colors </a:t>
                      </a:r>
                      <a:r>
                        <a:rPr lang="en-US" sz="900"/>
                        <a:t>distinctively</a:t>
                      </a:r>
                    </a:p>
                    <a:p>
                      <a:pPr marL="1422400" lvl="8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90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Reina Olga </a:t>
                      </a:r>
                      <a:r>
                        <a:rPr lang="en-US" sz="900" b="1" dirty="0"/>
                        <a:t>consistently adds brand hashtags </a:t>
                      </a:r>
                      <a:r>
                        <a:rPr lang="en-US" sz="900" b="0" dirty="0"/>
                        <a:t>such as </a:t>
                      </a:r>
                      <a:r>
                        <a:rPr lang="en-US" sz="900" b="0" i="1" dirty="0"/>
                        <a:t>“#</a:t>
                      </a:r>
                      <a:r>
                        <a:rPr lang="en-US" sz="900" b="0" i="1" dirty="0" err="1"/>
                        <a:t>ReinaOlgaBeachwear</a:t>
                      </a:r>
                      <a:r>
                        <a:rPr lang="en-US" sz="900" b="0" i="1" dirty="0"/>
                        <a:t>”</a:t>
                      </a:r>
                      <a:r>
                        <a:rPr lang="en-US" sz="900" b="0" dirty="0"/>
                        <a:t> and </a:t>
                      </a:r>
                      <a:r>
                        <a:rPr lang="en-US" sz="900" b="0" i="1" dirty="0"/>
                        <a:t>“#</a:t>
                      </a:r>
                      <a:r>
                        <a:rPr lang="en-US" sz="900" b="0" i="1" dirty="0" err="1"/>
                        <a:t>ROCrinkle</a:t>
                      </a:r>
                      <a:r>
                        <a:rPr lang="en-US" sz="900" b="0" i="1" dirty="0"/>
                        <a:t>” </a:t>
                      </a:r>
                      <a:r>
                        <a:rPr lang="en-US" sz="900" b="0" i="0" dirty="0"/>
                        <a:t>in their description </a:t>
                      </a:r>
                      <a:r>
                        <a:rPr lang="en-US" sz="900" dirty="0"/>
                        <a:t>which helps in creating </a:t>
                      </a:r>
                      <a:r>
                        <a:rPr lang="en-US" sz="900" b="1" dirty="0"/>
                        <a:t>strong brand recall</a:t>
                      </a:r>
                      <a:endParaRPr lang="en-US" sz="900" b="0" i="1" dirty="0"/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Other brands like</a:t>
                      </a:r>
                      <a:r>
                        <a:rPr lang="en-US" sz="900" b="1" dirty="0"/>
                        <a:t> Bond Eye and Seafolly also display consistent use of the brand assets </a:t>
                      </a:r>
                      <a:r>
                        <a:rPr lang="en-US" sz="900" b="0" dirty="0"/>
                        <a:t>such as logo </a:t>
                      </a:r>
                      <a:r>
                        <a:rPr lang="en-US" sz="900" dirty="0"/>
                        <a:t>throughout their creatives</a:t>
                      </a:r>
                      <a:endParaRPr lang="en-US" sz="900" b="1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1060620"/>
                  </a:ext>
                </a:extLst>
              </a:tr>
              <a:tr h="2883780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Optimised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Is creative leveraged optimised for the consumers across the funnel and the screens they view on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Does the brand have relevant creative across all stages of the funnel e.g. awareness, consideration, purchase?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Ads are </a:t>
                      </a:r>
                      <a:r>
                        <a:rPr lang="en-US" sz="900" b="1" dirty="0"/>
                        <a:t>optimized for both mobile &amp; desktop platforms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Majority of creatives have emphasized </a:t>
                      </a:r>
                      <a:r>
                        <a:rPr lang="en-US" sz="900" b="1" dirty="0"/>
                        <a:t>specific </a:t>
                      </a:r>
                      <a:r>
                        <a:rPr lang="en-US" sz="900" b="0" dirty="0"/>
                        <a:t>products or collection lines</a:t>
                      </a:r>
                      <a:r>
                        <a:rPr lang="en-US" sz="900" b="1" dirty="0"/>
                        <a:t>, </a:t>
                      </a:r>
                      <a:r>
                        <a:rPr lang="en-US" sz="900" b="0" dirty="0"/>
                        <a:t>highlighting colors, cuts, and design of the swimwear; </a:t>
                      </a:r>
                      <a:r>
                        <a:rPr lang="en-US" sz="900" b="1" dirty="0"/>
                        <a:t>Scope to highlight broader messaging/brand proposition/overall brand story in ads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Creatives are relevant across all stages of the sales funnel as Hunza G’s </a:t>
                      </a:r>
                      <a:r>
                        <a:rPr lang="en-US" sz="900" b="1" dirty="0"/>
                        <a:t>have eye-catching visuals that spark interest among top funnel consumers</a:t>
                      </a:r>
                      <a:r>
                        <a:rPr lang="en-US" sz="900" dirty="0"/>
                        <a:t>, along </a:t>
                      </a:r>
                      <a:r>
                        <a:rPr lang="en-US" sz="900" b="0" dirty="0"/>
                        <a:t>with one size fits all claims</a:t>
                      </a:r>
                      <a:r>
                        <a:rPr lang="en-US" sz="900" b="1" dirty="0"/>
                        <a:t> </a:t>
                      </a:r>
                      <a:r>
                        <a:rPr lang="en-US" sz="900" b="0" dirty="0"/>
                        <a:t>which helps with</a:t>
                      </a:r>
                      <a:r>
                        <a:rPr lang="en-US" sz="900" b="1" dirty="0"/>
                        <a:t> product </a:t>
                      </a:r>
                      <a:r>
                        <a:rPr lang="en-US" sz="900" b="0" dirty="0"/>
                        <a:t>differentiation and make ads more persuasive. </a:t>
                      </a:r>
                      <a:r>
                        <a:rPr lang="en-US" sz="900" b="1" dirty="0"/>
                        <a:t>Call to action button </a:t>
                      </a:r>
                      <a:r>
                        <a:rPr lang="en-US" sz="900" b="0" dirty="0"/>
                        <a:t>on almost each ads in consumer conversions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Hunza G can </a:t>
                      </a:r>
                      <a:r>
                        <a:rPr lang="en-US" sz="900" b="1" dirty="0"/>
                        <a:t>look to convert customers and create a powerfu</a:t>
                      </a:r>
                      <a:r>
                        <a:rPr lang="en-US" sz="900" dirty="0"/>
                        <a:t>l </a:t>
                      </a:r>
                      <a:r>
                        <a:rPr lang="en-US" sz="900" b="1" dirty="0"/>
                        <a:t>purchase push </a:t>
                      </a:r>
                      <a:r>
                        <a:rPr lang="en-US" sz="900" dirty="0"/>
                        <a:t>by highlighting the discounts / offers whenever sales or offers are live on the website</a:t>
                      </a:r>
                      <a:endParaRPr lang="en-US" sz="900" b="0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Bond-Eye and Melissa Odabash have product ads </a:t>
                      </a:r>
                      <a:r>
                        <a:rPr lang="en-US" sz="900" b="1" dirty="0"/>
                        <a:t>highlighting discounts / offers and freebies </a:t>
                      </a:r>
                      <a:r>
                        <a:rPr lang="en-US" sz="900" dirty="0"/>
                        <a:t>to add a powerful purchase push for consumers across sales funnel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eafolly incorporates phrases like </a:t>
                      </a:r>
                      <a:r>
                        <a:rPr lang="en-US" sz="900" b="1" i="1" dirty="0"/>
                        <a:t>“Crafted for Confidence”</a:t>
                      </a:r>
                      <a:r>
                        <a:rPr lang="en-US" sz="900" i="1" dirty="0"/>
                        <a:t> </a:t>
                      </a:r>
                      <a:r>
                        <a:rPr lang="en-US" sz="900" dirty="0"/>
                        <a:t>in its creatives that help </a:t>
                      </a:r>
                      <a:r>
                        <a:rPr lang="en-US" sz="900" b="1" dirty="0"/>
                        <a:t>establish an emotional connect with consumers </a:t>
                      </a:r>
                      <a:r>
                        <a:rPr lang="en-US" sz="900" b="0" dirty="0"/>
                        <a:t>and</a:t>
                      </a:r>
                      <a:r>
                        <a:rPr lang="en-US" sz="900" b="1" dirty="0"/>
                        <a:t> </a:t>
                      </a:r>
                      <a:r>
                        <a:rPr lang="en-US" sz="900" b="0" dirty="0"/>
                        <a:t>conveys brand’s commitment to</a:t>
                      </a:r>
                      <a:r>
                        <a:rPr lang="en-US" sz="900" b="1" dirty="0"/>
                        <a:t> inclusivity, body positivity </a:t>
                      </a:r>
                      <a:r>
                        <a:rPr lang="en-US" sz="900" b="0" dirty="0"/>
                        <a:t>and</a:t>
                      </a:r>
                      <a:r>
                        <a:rPr lang="en-US" sz="900" b="1" dirty="0"/>
                        <a:t> female empowerment</a:t>
                      </a:r>
                      <a:endParaRPr lang="en-US" sz="900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9719981"/>
                  </a:ext>
                </a:extLst>
              </a:tr>
            </a:tbl>
          </a:graphicData>
        </a:graphic>
      </p:graphicFrame>
      <p:grpSp>
        <p:nvGrpSpPr>
          <p:cNvPr id="10" name="btfpIcon782954">
            <a:extLst>
              <a:ext uri="{FF2B5EF4-FFF2-40B4-BE49-F238E27FC236}">
                <a16:creationId xmlns:a16="http://schemas.microsoft.com/office/drawing/2014/main" id="{5C25EC90-CAA4-4721-BFEF-932673E964C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65341" y="1951340"/>
            <a:ext cx="620948" cy="620949"/>
            <a:chOff x="8502615" y="1952628"/>
            <a:chExt cx="1398875" cy="1398874"/>
          </a:xfrm>
        </p:grpSpPr>
        <p:sp>
          <p:nvSpPr>
            <p:cNvPr id="11" name="btfpIconCircle782954">
              <a:extLst>
                <a:ext uri="{FF2B5EF4-FFF2-40B4-BE49-F238E27FC236}">
                  <a16:creationId xmlns:a16="http://schemas.microsoft.com/office/drawing/2014/main" id="{3290E4F1-B64B-47C3-AF53-72ECA130ECD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02615" y="1952628"/>
              <a:ext cx="1398874" cy="1398874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12" name="btfpIconLines782954">
              <a:extLst>
                <a:ext uri="{FF2B5EF4-FFF2-40B4-BE49-F238E27FC236}">
                  <a16:creationId xmlns:a16="http://schemas.microsoft.com/office/drawing/2014/main" id="{D6C74F04-1907-41C5-BA80-EFBCDB52D09D}"/>
                </a:ext>
              </a:extLst>
            </p:cNvPr>
            <p:cNvPicPr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02616" y="1952628"/>
              <a:ext cx="1398874" cy="1398874"/>
            </a:xfrm>
            <a:prstGeom prst="rect">
              <a:avLst/>
            </a:prstGeom>
          </p:spPr>
        </p:pic>
      </p:grpSp>
      <p:grpSp>
        <p:nvGrpSpPr>
          <p:cNvPr id="13" name="btfpIcon431622">
            <a:extLst>
              <a:ext uri="{FF2B5EF4-FFF2-40B4-BE49-F238E27FC236}">
                <a16:creationId xmlns:a16="http://schemas.microsoft.com/office/drawing/2014/main" id="{B6804C6E-C497-49EA-8571-2DD65A13076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565341" y="4098572"/>
            <a:ext cx="620948" cy="620949"/>
            <a:chOff x="10593485" y="1952626"/>
            <a:chExt cx="1560716" cy="1560715"/>
          </a:xfrm>
        </p:grpSpPr>
        <p:sp>
          <p:nvSpPr>
            <p:cNvPr id="14" name="btfpIconCircle431622">
              <a:extLst>
                <a:ext uri="{FF2B5EF4-FFF2-40B4-BE49-F238E27FC236}">
                  <a16:creationId xmlns:a16="http://schemas.microsoft.com/office/drawing/2014/main" id="{C112D33D-C7F8-4AD7-A3AD-ECCB34F5AC02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93485" y="1952626"/>
              <a:ext cx="1560714" cy="156071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15" name="btfpIconLines431622">
              <a:extLst>
                <a:ext uri="{FF2B5EF4-FFF2-40B4-BE49-F238E27FC236}">
                  <a16:creationId xmlns:a16="http://schemas.microsoft.com/office/drawing/2014/main" id="{B24DC82A-3A68-4AB5-96EC-AE22696C81D9}"/>
                </a:ext>
              </a:extLst>
            </p:cNvPr>
            <p:cNvPicPr>
              <a:picLocks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93487" y="1952626"/>
              <a:ext cx="1560714" cy="156071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060FFA6-84E5-F4C4-9138-1DAEA9E98C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18742" y="1628951"/>
            <a:ext cx="1316138" cy="101563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BC57063-0671-7D2F-9012-1EE48648F7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57925" y="2465533"/>
            <a:ext cx="1224473" cy="9226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31A0F11-C715-7427-9C97-2826F725672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65018" y="2463105"/>
            <a:ext cx="825921" cy="62810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D9B85C0-9BEA-8430-41AC-CA5A9EF2A4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5381" y="2801862"/>
            <a:ext cx="825921" cy="67843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D2C47B4-F2EB-490A-D99A-031ACC88B76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07615" y="1589361"/>
            <a:ext cx="1152608" cy="8886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1D85BA1-498C-70FF-C834-F2E6DD5EB46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14174" y="3568556"/>
            <a:ext cx="1368224" cy="138876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689B3BD-097F-ADE6-4CAA-60664907EBD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14174" y="4787105"/>
            <a:ext cx="1384495" cy="1388768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E4E3BEE-4AC1-E19D-7303-24EE547F26B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807615" y="3558742"/>
            <a:ext cx="1461183" cy="1435321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2909FC80-360E-92F7-ED15-BC835323B6E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010854" y="4011556"/>
            <a:ext cx="1266671" cy="131111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7C81B7B2-AC2D-4C9F-BB0A-CB47CD25676B}"/>
              </a:ext>
            </a:extLst>
          </p:cNvPr>
          <p:cNvSpPr/>
          <p:nvPr/>
        </p:nvSpPr>
        <p:spPr bwMode="gray">
          <a:xfrm>
            <a:off x="8254008" y="3874771"/>
            <a:ext cx="326652" cy="108422"/>
          </a:xfrm>
          <a:prstGeom prst="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DBCED99-7171-CBC1-BDFC-13D72A262718}"/>
              </a:ext>
            </a:extLst>
          </p:cNvPr>
          <p:cNvSpPr/>
          <p:nvPr/>
        </p:nvSpPr>
        <p:spPr bwMode="gray">
          <a:xfrm>
            <a:off x="8068658" y="4319176"/>
            <a:ext cx="1151061" cy="128608"/>
          </a:xfrm>
          <a:prstGeom prst="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E541EAB-1BDE-FBD0-6FFD-B74ECBD0B30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826454" y="5154985"/>
            <a:ext cx="1114930" cy="113879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FC3822F0-E9E9-A07C-C159-5DA6C82FC83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339309" y="4727054"/>
            <a:ext cx="998870" cy="913672"/>
          </a:xfrm>
          <a:prstGeom prst="rect">
            <a:avLst/>
          </a:prstGeom>
        </p:spPr>
      </p:pic>
      <p:sp>
        <p:nvSpPr>
          <p:cNvPr id="54" name="btfpNotesBox612105">
            <a:extLst>
              <a:ext uri="{FF2B5EF4-FFF2-40B4-BE49-F238E27FC236}">
                <a16:creationId xmlns:a16="http://schemas.microsoft.com/office/drawing/2014/main" id="{EDB03831-C3E5-1D29-4BA4-36A720AA6E4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/>
              <a:t>Source: Meta Ads Library accessed on January 11, 2024</a:t>
            </a:r>
          </a:p>
        </p:txBody>
      </p:sp>
      <p:grpSp>
        <p:nvGrpSpPr>
          <p:cNvPr id="32" name="btfpRunningAgenda2Level294467">
            <a:extLst>
              <a:ext uri="{FF2B5EF4-FFF2-40B4-BE49-F238E27FC236}">
                <a16:creationId xmlns:a16="http://schemas.microsoft.com/office/drawing/2014/main" id="{BE3C8A4A-FFFC-D731-EE44-ECEC9699B41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737297" cy="257442"/>
            <a:chOff x="0" y="876300"/>
            <a:chExt cx="3737297" cy="257442"/>
          </a:xfrm>
        </p:grpSpPr>
        <p:sp>
          <p:nvSpPr>
            <p:cNvPr id="37" name="btfpRunningAgenda2LevelBarLeft294467">
              <a:extLst>
                <a:ext uri="{FF2B5EF4-FFF2-40B4-BE49-F238E27FC236}">
                  <a16:creationId xmlns:a16="http://schemas.microsoft.com/office/drawing/2014/main" id="{5FA0374A-6A86-88C9-7286-473201E55407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btfpRunningAgenda2LevelTextLeft294467">
              <a:extLst>
                <a:ext uri="{FF2B5EF4-FFF2-40B4-BE49-F238E27FC236}">
                  <a16:creationId xmlns:a16="http://schemas.microsoft.com/office/drawing/2014/main" id="{2D46729A-D9CA-576B-503A-87C7DE9254A6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Social media</a:t>
              </a:r>
            </a:p>
          </p:txBody>
        </p:sp>
        <p:sp>
          <p:nvSpPr>
            <p:cNvPr id="44" name="btfpRunningAgenda2LevelBarRight294467">
              <a:extLst>
                <a:ext uri="{FF2B5EF4-FFF2-40B4-BE49-F238E27FC236}">
                  <a16:creationId xmlns:a16="http://schemas.microsoft.com/office/drawing/2014/main" id="{FAF698E4-55C4-3FD3-A376-956EBEC2ECFF}"/>
                </a:ext>
              </a:extLst>
            </p:cNvPr>
            <p:cNvSpPr/>
            <p:nvPr/>
          </p:nvSpPr>
          <p:spPr bwMode="gray">
            <a:xfrm>
              <a:off x="245788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btfpRunningAgenda2LevelTextRight294467">
              <a:extLst>
                <a:ext uri="{FF2B5EF4-FFF2-40B4-BE49-F238E27FC236}">
                  <a16:creationId xmlns:a16="http://schemas.microsoft.com/office/drawing/2014/main" id="{E2D245DE-780D-0990-1C18-ABC93F3922E1}"/>
                </a:ext>
              </a:extLst>
            </p:cNvPr>
            <p:cNvSpPr txBox="1"/>
            <p:nvPr/>
          </p:nvSpPr>
          <p:spPr bwMode="gray">
            <a:xfrm>
              <a:off x="245788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ads</a:t>
              </a:r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F335FA8A-1F83-A567-1505-FA6FAF248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1"/>
            <a:ext cx="11857038" cy="876687"/>
          </a:xfrm>
        </p:spPr>
        <p:txBody>
          <a:bodyPr vert="horz"/>
          <a:lstStyle/>
          <a:p>
            <a:r>
              <a:rPr lang="en-US" b="1" dirty="0"/>
              <a:t>Creative quality: </a:t>
            </a:r>
            <a:r>
              <a:rPr lang="en-US" dirty="0"/>
              <a:t>Good quality ads with appealing visuals &amp; clear messaging; scope to target the ads better (occasions/ customer segments), mention any offers/ discounts </a:t>
            </a:r>
            <a:r>
              <a:rPr lang="en-US" sz="1000" dirty="0"/>
              <a:t>(2/2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36550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EF761B51-5172-9202-BD10-6201CE8FA15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146835">
              <a:extLst>
                <a:ext uri="{FF2B5EF4-FFF2-40B4-BE49-F238E27FC236}">
                  <a16:creationId xmlns:a16="http://schemas.microsoft.com/office/drawing/2014/main" id="{EF2321D1-E51C-98B8-AB23-01CFEB615E9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579313">
              <a:extLst>
                <a:ext uri="{FF2B5EF4-FFF2-40B4-BE49-F238E27FC236}">
                  <a16:creationId xmlns:a16="http://schemas.microsoft.com/office/drawing/2014/main" id="{39501B14-F891-5A80-8657-C002B8FB1D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118798">
              <a:extLst>
                <a:ext uri="{FF2B5EF4-FFF2-40B4-BE49-F238E27FC236}">
                  <a16:creationId xmlns:a16="http://schemas.microsoft.com/office/drawing/2014/main" id="{B92DE100-99C1-456C-D0B5-DD65B6A14DC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366218">
              <a:extLst>
                <a:ext uri="{FF2B5EF4-FFF2-40B4-BE49-F238E27FC236}">
                  <a16:creationId xmlns:a16="http://schemas.microsoft.com/office/drawing/2014/main" id="{86AF4561-40E7-3826-6658-DC1599E8E78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EE386844-C430-64BD-26DD-0701BBE1F1B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893185">
              <a:extLst>
                <a:ext uri="{FF2B5EF4-FFF2-40B4-BE49-F238E27FC236}">
                  <a16:creationId xmlns:a16="http://schemas.microsoft.com/office/drawing/2014/main" id="{52910741-44C4-9368-DF82-436F6CDA623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2" name="btfpColumnGapBlocker391033">
              <a:extLst>
                <a:ext uri="{FF2B5EF4-FFF2-40B4-BE49-F238E27FC236}">
                  <a16:creationId xmlns:a16="http://schemas.microsoft.com/office/drawing/2014/main" id="{5D3F9277-F814-970D-2B02-1E2DD19F567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219529">
              <a:extLst>
                <a:ext uri="{FF2B5EF4-FFF2-40B4-BE49-F238E27FC236}">
                  <a16:creationId xmlns:a16="http://schemas.microsoft.com/office/drawing/2014/main" id="{0D7C66CA-FD8A-0E15-7E6C-B9293FA631A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739411">
              <a:extLst>
                <a:ext uri="{FF2B5EF4-FFF2-40B4-BE49-F238E27FC236}">
                  <a16:creationId xmlns:a16="http://schemas.microsoft.com/office/drawing/2014/main" id="{CDFF40DD-7BD8-E927-FF12-603EBCB4EB9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3CD9E7A-2C48-45D0-B2AA-06261B1A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fluencer marketing: </a:t>
            </a:r>
            <a:r>
              <a:rPr lang="en-US" dirty="0"/>
              <a:t>Hunza G has the highest # of influencers vs. pure-play swimwear brands, however, lags slightly on ‘engagement rate’ on influencer content</a:t>
            </a:r>
            <a:endParaRPr lang="en-US" spc="-10" dirty="0"/>
          </a:p>
        </p:txBody>
      </p:sp>
      <p:grpSp>
        <p:nvGrpSpPr>
          <p:cNvPr id="30" name="btfpRunningAgenda1Level188110">
            <a:extLst>
              <a:ext uri="{FF2B5EF4-FFF2-40B4-BE49-F238E27FC236}">
                <a16:creationId xmlns:a16="http://schemas.microsoft.com/office/drawing/2014/main" id="{287BE7D5-03DB-6BD2-C816-0E3CA1F9BF7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944429"/>
            <a:ext cx="3901929" cy="257442"/>
            <a:chOff x="0" y="876300"/>
            <a:chExt cx="3901929" cy="257442"/>
          </a:xfrm>
        </p:grpSpPr>
        <p:sp>
          <p:nvSpPr>
            <p:cNvPr id="29" name="btfpRunningAgenda1LevelBarLeft188110">
              <a:extLst>
                <a:ext uri="{FF2B5EF4-FFF2-40B4-BE49-F238E27FC236}">
                  <a16:creationId xmlns:a16="http://schemas.microsoft.com/office/drawing/2014/main" id="{1DED74C4-E8C5-ED4E-D8E2-97201C32AFFE}"/>
                </a:ext>
              </a:extLst>
            </p:cNvPr>
            <p:cNvSpPr/>
            <p:nvPr/>
          </p:nvSpPr>
          <p:spPr bwMode="gray">
            <a:xfrm>
              <a:off x="0" y="876300"/>
              <a:ext cx="3901929" cy="257442"/>
            </a:xfrm>
            <a:custGeom>
              <a:avLst/>
              <a:gdLst>
                <a:gd name="connsiteX0" fmla="*/ 883475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883475 w 1816204"/>
                <a:gd name="connsiteY0" fmla="*/ 0 h 257442"/>
                <a:gd name="connsiteX1" fmla="*/ 828755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883475 w 883475"/>
                <a:gd name="connsiteY0" fmla="*/ 0 h 257442"/>
                <a:gd name="connsiteX1" fmla="*/ 828755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257442 h 257442"/>
                <a:gd name="connsiteX0" fmla="*/ 883474 w 883474"/>
                <a:gd name="connsiteY0" fmla="*/ 0 h 257442"/>
                <a:gd name="connsiteX1" fmla="*/ 828754 w 883474"/>
                <a:gd name="connsiteY1" fmla="*/ 257442 h 257442"/>
                <a:gd name="connsiteX2" fmla="*/ 0 w 883474"/>
                <a:gd name="connsiteY2" fmla="*/ 257442 h 257442"/>
                <a:gd name="connsiteX3" fmla="*/ 1 w 883474"/>
                <a:gd name="connsiteY3" fmla="*/ 0 h 257442"/>
                <a:gd name="connsiteX0" fmla="*/ 1051790 w 1051790"/>
                <a:gd name="connsiteY0" fmla="*/ 0 h 257442"/>
                <a:gd name="connsiteX1" fmla="*/ 828754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356360 w 1356360"/>
                <a:gd name="connsiteY0" fmla="*/ 0 h 257442"/>
                <a:gd name="connsiteX1" fmla="*/ 99706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524676 w 1524676"/>
                <a:gd name="connsiteY0" fmla="*/ 0 h 257442"/>
                <a:gd name="connsiteX1" fmla="*/ 1301639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684976 w 1684976"/>
                <a:gd name="connsiteY0" fmla="*/ 0 h 257442"/>
                <a:gd name="connsiteX1" fmla="*/ 14699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853291 w 1853291"/>
                <a:gd name="connsiteY0" fmla="*/ 0 h 257442"/>
                <a:gd name="connsiteX1" fmla="*/ 1630255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2021607 w 2021607"/>
                <a:gd name="connsiteY0" fmla="*/ 0 h 257442"/>
                <a:gd name="connsiteX1" fmla="*/ 1798570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181907 w 2181907"/>
                <a:gd name="connsiteY0" fmla="*/ 0 h 257442"/>
                <a:gd name="connsiteX1" fmla="*/ 19668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350222 w 2350222"/>
                <a:gd name="connsiteY0" fmla="*/ 0 h 257442"/>
                <a:gd name="connsiteX1" fmla="*/ 2127186 w 2350222"/>
                <a:gd name="connsiteY1" fmla="*/ 257442 h 257442"/>
                <a:gd name="connsiteX2" fmla="*/ 0 w 2350222"/>
                <a:gd name="connsiteY2" fmla="*/ 257442 h 257442"/>
                <a:gd name="connsiteX3" fmla="*/ 0 w 2350222"/>
                <a:gd name="connsiteY3" fmla="*/ 0 h 257442"/>
                <a:gd name="connsiteX0" fmla="*/ 2350222 w 2350222"/>
                <a:gd name="connsiteY0" fmla="*/ 0 h 257442"/>
                <a:gd name="connsiteX1" fmla="*/ 2295500 w 2350222"/>
                <a:gd name="connsiteY1" fmla="*/ 257442 h 257442"/>
                <a:gd name="connsiteX2" fmla="*/ 0 w 2350222"/>
                <a:gd name="connsiteY2" fmla="*/ 257442 h 257442"/>
                <a:gd name="connsiteX3" fmla="*/ 0 w 2350222"/>
                <a:gd name="connsiteY3" fmla="*/ 0 h 257442"/>
                <a:gd name="connsiteX0" fmla="*/ 2350223 w 2350223"/>
                <a:gd name="connsiteY0" fmla="*/ 0 h 257442"/>
                <a:gd name="connsiteX1" fmla="*/ 2295501 w 2350223"/>
                <a:gd name="connsiteY1" fmla="*/ 257442 h 257442"/>
                <a:gd name="connsiteX2" fmla="*/ 0 w 2350223"/>
                <a:gd name="connsiteY2" fmla="*/ 257442 h 257442"/>
                <a:gd name="connsiteX3" fmla="*/ 1 w 2350223"/>
                <a:gd name="connsiteY3" fmla="*/ 0 h 257442"/>
                <a:gd name="connsiteX0" fmla="*/ 2350223 w 2350223"/>
                <a:gd name="connsiteY0" fmla="*/ 0 h 257442"/>
                <a:gd name="connsiteX1" fmla="*/ 2295501 w 2350223"/>
                <a:gd name="connsiteY1" fmla="*/ 257442 h 257442"/>
                <a:gd name="connsiteX2" fmla="*/ 0 w 2350223"/>
                <a:gd name="connsiteY2" fmla="*/ 257442 h 257442"/>
                <a:gd name="connsiteX3" fmla="*/ 1 w 2350223"/>
                <a:gd name="connsiteY3" fmla="*/ 0 h 257442"/>
                <a:gd name="connsiteX0" fmla="*/ 2637161 w 2637161"/>
                <a:gd name="connsiteY0" fmla="*/ 0 h 257442"/>
                <a:gd name="connsiteX1" fmla="*/ 2295501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637161 w 2637161"/>
                <a:gd name="connsiteY0" fmla="*/ 0 h 257442"/>
                <a:gd name="connsiteX1" fmla="*/ 2582440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637160 w 2637160"/>
                <a:gd name="connsiteY0" fmla="*/ 0 h 257442"/>
                <a:gd name="connsiteX1" fmla="*/ 2582439 w 2637160"/>
                <a:gd name="connsiteY1" fmla="*/ 257442 h 257442"/>
                <a:gd name="connsiteX2" fmla="*/ 0 w 2637160"/>
                <a:gd name="connsiteY2" fmla="*/ 257442 h 257442"/>
                <a:gd name="connsiteX3" fmla="*/ 0 w 2637160"/>
                <a:gd name="connsiteY3" fmla="*/ 0 h 257442"/>
                <a:gd name="connsiteX0" fmla="*/ 2637161 w 2637161"/>
                <a:gd name="connsiteY0" fmla="*/ 0 h 257442"/>
                <a:gd name="connsiteX1" fmla="*/ 2582440 w 2637161"/>
                <a:gd name="connsiteY1" fmla="*/ 257442 h 257442"/>
                <a:gd name="connsiteX2" fmla="*/ 1 w 2637161"/>
                <a:gd name="connsiteY2" fmla="*/ 257442 h 257442"/>
                <a:gd name="connsiteX3" fmla="*/ 0 w 2637161"/>
                <a:gd name="connsiteY3" fmla="*/ 0 h 257442"/>
                <a:gd name="connsiteX0" fmla="*/ 2805476 w 2805476"/>
                <a:gd name="connsiteY0" fmla="*/ 0 h 257442"/>
                <a:gd name="connsiteX1" fmla="*/ 2582440 w 2805476"/>
                <a:gd name="connsiteY1" fmla="*/ 257442 h 257442"/>
                <a:gd name="connsiteX2" fmla="*/ 1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1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0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0 w 2805476"/>
                <a:gd name="connsiteY2" fmla="*/ 257442 h 257442"/>
                <a:gd name="connsiteX3" fmla="*/ 0 w 2805476"/>
                <a:gd name="connsiteY3" fmla="*/ 0 h 257442"/>
                <a:gd name="connsiteX0" fmla="*/ 2973791 w 2973791"/>
                <a:gd name="connsiteY0" fmla="*/ 0 h 257442"/>
                <a:gd name="connsiteX1" fmla="*/ 2750754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3142106 w 3142106"/>
                <a:gd name="connsiteY0" fmla="*/ 0 h 257442"/>
                <a:gd name="connsiteX1" fmla="*/ 2919070 w 3142106"/>
                <a:gd name="connsiteY1" fmla="*/ 257442 h 257442"/>
                <a:gd name="connsiteX2" fmla="*/ 0 w 3142106"/>
                <a:gd name="connsiteY2" fmla="*/ 257442 h 257442"/>
                <a:gd name="connsiteX3" fmla="*/ 0 w 3142106"/>
                <a:gd name="connsiteY3" fmla="*/ 0 h 257442"/>
                <a:gd name="connsiteX0" fmla="*/ 3142106 w 3142106"/>
                <a:gd name="connsiteY0" fmla="*/ 0 h 257442"/>
                <a:gd name="connsiteX1" fmla="*/ 3087384 w 3142106"/>
                <a:gd name="connsiteY1" fmla="*/ 257442 h 257442"/>
                <a:gd name="connsiteX2" fmla="*/ 0 w 3142106"/>
                <a:gd name="connsiteY2" fmla="*/ 257442 h 257442"/>
                <a:gd name="connsiteX3" fmla="*/ 0 w 3142106"/>
                <a:gd name="connsiteY3" fmla="*/ 0 h 257442"/>
                <a:gd name="connsiteX0" fmla="*/ 3142107 w 3142107"/>
                <a:gd name="connsiteY0" fmla="*/ 0 h 257442"/>
                <a:gd name="connsiteX1" fmla="*/ 3087385 w 3142107"/>
                <a:gd name="connsiteY1" fmla="*/ 257442 h 257442"/>
                <a:gd name="connsiteX2" fmla="*/ 0 w 3142107"/>
                <a:gd name="connsiteY2" fmla="*/ 257442 h 257442"/>
                <a:gd name="connsiteX3" fmla="*/ 1 w 3142107"/>
                <a:gd name="connsiteY3" fmla="*/ 0 h 257442"/>
                <a:gd name="connsiteX0" fmla="*/ 3142107 w 3142107"/>
                <a:gd name="connsiteY0" fmla="*/ 0 h 257442"/>
                <a:gd name="connsiteX1" fmla="*/ 3087385 w 3142107"/>
                <a:gd name="connsiteY1" fmla="*/ 257442 h 257442"/>
                <a:gd name="connsiteX2" fmla="*/ 0 w 3142107"/>
                <a:gd name="connsiteY2" fmla="*/ 257442 h 257442"/>
                <a:gd name="connsiteX3" fmla="*/ 1 w 3142107"/>
                <a:gd name="connsiteY3" fmla="*/ 0 h 257442"/>
                <a:gd name="connsiteX0" fmla="*/ 3302407 w 3302407"/>
                <a:gd name="connsiteY0" fmla="*/ 0 h 257442"/>
                <a:gd name="connsiteX1" fmla="*/ 3087385 w 3302407"/>
                <a:gd name="connsiteY1" fmla="*/ 257442 h 257442"/>
                <a:gd name="connsiteX2" fmla="*/ 0 w 3302407"/>
                <a:gd name="connsiteY2" fmla="*/ 257442 h 257442"/>
                <a:gd name="connsiteX3" fmla="*/ 1 w 3302407"/>
                <a:gd name="connsiteY3" fmla="*/ 0 h 257442"/>
                <a:gd name="connsiteX0" fmla="*/ 3302407 w 3302407"/>
                <a:gd name="connsiteY0" fmla="*/ 0 h 257442"/>
                <a:gd name="connsiteX1" fmla="*/ 3247686 w 3302407"/>
                <a:gd name="connsiteY1" fmla="*/ 257442 h 257442"/>
                <a:gd name="connsiteX2" fmla="*/ 0 w 3302407"/>
                <a:gd name="connsiteY2" fmla="*/ 257442 h 257442"/>
                <a:gd name="connsiteX3" fmla="*/ 1 w 3302407"/>
                <a:gd name="connsiteY3" fmla="*/ 0 h 257442"/>
                <a:gd name="connsiteX0" fmla="*/ 3302406 w 3302406"/>
                <a:gd name="connsiteY0" fmla="*/ 0 h 257442"/>
                <a:gd name="connsiteX1" fmla="*/ 3247685 w 3302406"/>
                <a:gd name="connsiteY1" fmla="*/ 257442 h 257442"/>
                <a:gd name="connsiteX2" fmla="*/ 0 w 3302406"/>
                <a:gd name="connsiteY2" fmla="*/ 257442 h 257442"/>
                <a:gd name="connsiteX3" fmla="*/ 0 w 3302406"/>
                <a:gd name="connsiteY3" fmla="*/ 0 h 257442"/>
                <a:gd name="connsiteX0" fmla="*/ 3302407 w 3302407"/>
                <a:gd name="connsiteY0" fmla="*/ 0 h 257442"/>
                <a:gd name="connsiteX1" fmla="*/ 3247686 w 3302407"/>
                <a:gd name="connsiteY1" fmla="*/ 257442 h 257442"/>
                <a:gd name="connsiteX2" fmla="*/ 1 w 3302407"/>
                <a:gd name="connsiteY2" fmla="*/ 257442 h 257442"/>
                <a:gd name="connsiteX3" fmla="*/ 0 w 3302407"/>
                <a:gd name="connsiteY3" fmla="*/ 0 h 257442"/>
                <a:gd name="connsiteX0" fmla="*/ 3555681 w 3555681"/>
                <a:gd name="connsiteY0" fmla="*/ 0 h 257442"/>
                <a:gd name="connsiteX1" fmla="*/ 3247686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1 w 3555681"/>
                <a:gd name="connsiteY0" fmla="*/ 0 h 257442"/>
                <a:gd name="connsiteX1" fmla="*/ 3500960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1 w 3555681"/>
                <a:gd name="connsiteY0" fmla="*/ 0 h 257442"/>
                <a:gd name="connsiteX1" fmla="*/ 3500960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0 w 3555680"/>
                <a:gd name="connsiteY0" fmla="*/ 0 h 257442"/>
                <a:gd name="connsiteX1" fmla="*/ 3500959 w 3555680"/>
                <a:gd name="connsiteY1" fmla="*/ 257442 h 257442"/>
                <a:gd name="connsiteX2" fmla="*/ 0 w 3555680"/>
                <a:gd name="connsiteY2" fmla="*/ 257442 h 257442"/>
                <a:gd name="connsiteX3" fmla="*/ 0 w 3555680"/>
                <a:gd name="connsiteY3" fmla="*/ 0 h 257442"/>
                <a:gd name="connsiteX0" fmla="*/ 3723995 w 3723995"/>
                <a:gd name="connsiteY0" fmla="*/ 0 h 257442"/>
                <a:gd name="connsiteX1" fmla="*/ 3500959 w 3723995"/>
                <a:gd name="connsiteY1" fmla="*/ 257442 h 257442"/>
                <a:gd name="connsiteX2" fmla="*/ 0 w 3723995"/>
                <a:gd name="connsiteY2" fmla="*/ 257442 h 257442"/>
                <a:gd name="connsiteX3" fmla="*/ 0 w 3723995"/>
                <a:gd name="connsiteY3" fmla="*/ 0 h 257442"/>
                <a:gd name="connsiteX0" fmla="*/ 3723995 w 3723995"/>
                <a:gd name="connsiteY0" fmla="*/ 0 h 257442"/>
                <a:gd name="connsiteX1" fmla="*/ 3669274 w 3723995"/>
                <a:gd name="connsiteY1" fmla="*/ 257442 h 257442"/>
                <a:gd name="connsiteX2" fmla="*/ 0 w 3723995"/>
                <a:gd name="connsiteY2" fmla="*/ 257442 h 257442"/>
                <a:gd name="connsiteX3" fmla="*/ 0 w 3723995"/>
                <a:gd name="connsiteY3" fmla="*/ 0 h 257442"/>
                <a:gd name="connsiteX0" fmla="*/ 3723996 w 3723996"/>
                <a:gd name="connsiteY0" fmla="*/ 0 h 257442"/>
                <a:gd name="connsiteX1" fmla="*/ 3669275 w 3723996"/>
                <a:gd name="connsiteY1" fmla="*/ 257442 h 257442"/>
                <a:gd name="connsiteX2" fmla="*/ 0 w 3723996"/>
                <a:gd name="connsiteY2" fmla="*/ 257442 h 257442"/>
                <a:gd name="connsiteX3" fmla="*/ 1 w 3723996"/>
                <a:gd name="connsiteY3" fmla="*/ 0 h 257442"/>
                <a:gd name="connsiteX0" fmla="*/ 3723996 w 3723996"/>
                <a:gd name="connsiteY0" fmla="*/ 0 h 257442"/>
                <a:gd name="connsiteX1" fmla="*/ 3669275 w 3723996"/>
                <a:gd name="connsiteY1" fmla="*/ 257442 h 257442"/>
                <a:gd name="connsiteX2" fmla="*/ 0 w 3723996"/>
                <a:gd name="connsiteY2" fmla="*/ 257442 h 257442"/>
                <a:gd name="connsiteX3" fmla="*/ 0 w 3723996"/>
                <a:gd name="connsiteY3" fmla="*/ 0 h 257442"/>
                <a:gd name="connsiteX0" fmla="*/ 3901929 w 3901929"/>
                <a:gd name="connsiteY0" fmla="*/ 0 h 257442"/>
                <a:gd name="connsiteX1" fmla="*/ 3669275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1929" h="257442">
                  <a:moveTo>
                    <a:pt x="3901929" y="0"/>
                  </a:moveTo>
                  <a:lnTo>
                    <a:pt x="384720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RunningAgenda1LevelTextLeft188110">
              <a:extLst>
                <a:ext uri="{FF2B5EF4-FFF2-40B4-BE49-F238E27FC236}">
                  <a16:creationId xmlns:a16="http://schemas.microsoft.com/office/drawing/2014/main" id="{2B0B6153-CBB3-D8C3-BC0A-8C9B858BB4B8}"/>
                </a:ext>
              </a:extLst>
            </p:cNvPr>
            <p:cNvSpPr txBox="1"/>
            <p:nvPr/>
          </p:nvSpPr>
          <p:spPr bwMode="gray">
            <a:xfrm>
              <a:off x="0" y="876300"/>
              <a:ext cx="384720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Influencer marketing</a:t>
              </a:r>
            </a:p>
          </p:txBody>
        </p:sp>
      </p:grpSp>
      <p:grpSp>
        <p:nvGrpSpPr>
          <p:cNvPr id="33" name="btfpStatusSticker675992">
            <a:extLst>
              <a:ext uri="{FF2B5EF4-FFF2-40B4-BE49-F238E27FC236}">
                <a16:creationId xmlns:a16="http://schemas.microsoft.com/office/drawing/2014/main" id="{564E7F9A-378B-5FEA-A07F-CA4462C45B0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349718" y="955344"/>
            <a:ext cx="1512082" cy="235611"/>
            <a:chOff x="-2090125" y="876300"/>
            <a:chExt cx="1512082" cy="235611"/>
          </a:xfrm>
        </p:grpSpPr>
        <p:sp>
          <p:nvSpPr>
            <p:cNvPr id="31" name="btfpStatusStickerText675992">
              <a:extLst>
                <a:ext uri="{FF2B5EF4-FFF2-40B4-BE49-F238E27FC236}">
                  <a16:creationId xmlns:a16="http://schemas.microsoft.com/office/drawing/2014/main" id="{E03C1526-E7BB-D6AE-EBFA-5B274A467FC3}"/>
                </a:ext>
              </a:extLst>
            </p:cNvPr>
            <p:cNvSpPr txBox="1"/>
            <p:nvPr/>
          </p:nvSpPr>
          <p:spPr bwMode="gray">
            <a:xfrm>
              <a:off x="-2090125" y="876300"/>
              <a:ext cx="151208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Instagram</a:t>
              </a:r>
            </a:p>
          </p:txBody>
        </p:sp>
        <p:cxnSp>
          <p:nvCxnSpPr>
            <p:cNvPr id="32" name="btfpStatusStickerLine675992">
              <a:extLst>
                <a:ext uri="{FF2B5EF4-FFF2-40B4-BE49-F238E27FC236}">
                  <a16:creationId xmlns:a16="http://schemas.microsoft.com/office/drawing/2014/main" id="{DFE902E7-A5BE-A742-05C1-AF5A0D7E2FE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09012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btfpNotesBox364169">
            <a:extLst>
              <a:ext uri="{FF2B5EF4-FFF2-40B4-BE49-F238E27FC236}">
                <a16:creationId xmlns:a16="http://schemas.microsoft.com/office/drawing/2014/main" id="{C757010B-5738-4EED-A10B-B57175663E4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1491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lang="en-US" sz="800" dirty="0"/>
              <a:t>^P</a:t>
            </a:r>
            <a:r>
              <a:rPr lang="en-US" sz="800" dirty="0">
                <a:effectLst/>
                <a:ea typeface="Calibri" panose="020F0502020204030204" pitchFamily="34" charset="0"/>
              </a:rPr>
              <a:t>osts marked using Instagram’s Paid Partnership Feature or having #sponsored/ #ad hashtags in caption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ource: HypeAuditor, last 12 months data (Jan’23-Dec’23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3DA14C0-D14D-C635-50CF-A83421A36F31}"/>
              </a:ext>
            </a:extLst>
          </p:cNvPr>
          <p:cNvGraphicFramePr>
            <a:graphicFrameLocks noGrp="1"/>
          </p:cNvGraphicFramePr>
          <p:nvPr/>
        </p:nvGraphicFramePr>
        <p:xfrm>
          <a:off x="334962" y="1752253"/>
          <a:ext cx="11522083" cy="4418461"/>
        </p:xfrm>
        <a:graphic>
          <a:graphicData uri="http://schemas.openxmlformats.org/drawingml/2006/table">
            <a:tbl>
              <a:tblPr/>
              <a:tblGrid>
                <a:gridCol w="1493838">
                  <a:extLst>
                    <a:ext uri="{9D8B030D-6E8A-4147-A177-3AD203B41FA5}">
                      <a16:colId xmlns:a16="http://schemas.microsoft.com/office/drawing/2014/main" val="267976942"/>
                    </a:ext>
                  </a:extLst>
                </a:gridCol>
                <a:gridCol w="2328421">
                  <a:extLst>
                    <a:ext uri="{9D8B030D-6E8A-4147-A177-3AD203B41FA5}">
                      <a16:colId xmlns:a16="http://schemas.microsoft.com/office/drawing/2014/main" val="1172864086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3161414440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853681405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1138325786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1469575812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357452499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1533481315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19635633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2040188879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2083566362"/>
                    </a:ext>
                  </a:extLst>
                </a:gridCol>
              </a:tblGrid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luenc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ers with more than 1,000 followers, who mentioned the brand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5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0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D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A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D0B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C5B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079464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onsored influenc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luencers whose posts had any of the “sponsored content” characteristics^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(21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 (24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(29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(32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(64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5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(22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8F8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(29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A4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(46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(38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4238130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ga and Macro tier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ga: 1M+ followers, Macro: 500K to 1M follow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5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88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BDA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58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7451987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termediate tier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luencers with 50K to 500K follow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9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4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C3B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3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4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8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CC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093262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cro and Nano tier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cro: 10K to 50K followers, Nano: 1K to 10K follow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88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6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D6C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8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797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0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5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A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0406631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Audience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mulative follower-base of influencer accounts (M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A39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8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AD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913269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. reach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I-based estimation of the number of “active” audience likely to view the posts (M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AFA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B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1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8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774730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Mention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mulative number of times brand name was mentioned in post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0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C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CE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B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AFA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5896973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vg. Engagement Rate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rcent of audience who like or comment (engage) with the post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6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D3C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2C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1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CCB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1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7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F9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9A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030838"/>
                  </a:ext>
                </a:extLst>
              </a:tr>
            </a:tbl>
          </a:graphicData>
        </a:graphic>
      </p:graphicFrame>
      <p:pic>
        <p:nvPicPr>
          <p:cNvPr id="8" name="Picture 4" descr="ERES - Lingerie and swimwear online store | General Terms and Conditions of  Sale">
            <a:extLst>
              <a:ext uri="{FF2B5EF4-FFF2-40B4-BE49-F238E27FC236}">
                <a16:creationId xmlns:a16="http://schemas.microsoft.com/office/drawing/2014/main" id="{35B42662-6CC5-6295-C201-250E03E41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551" y="1453487"/>
            <a:ext cx="548886" cy="16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Bond-Eye– Luxe Leopard">
            <a:extLst>
              <a:ext uri="{FF2B5EF4-FFF2-40B4-BE49-F238E27FC236}">
                <a16:creationId xmlns:a16="http://schemas.microsoft.com/office/drawing/2014/main" id="{9006ED32-4EC0-3196-E6F5-670CC32379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0" t="33547" r="7445" b="31666"/>
          <a:stretch/>
        </p:blipFill>
        <p:spPr bwMode="auto">
          <a:xfrm>
            <a:off x="6747688" y="1483958"/>
            <a:ext cx="815816" cy="219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MC2 Saint Barth Logo and symbol, meaning, history, PNG, brand">
            <a:extLst>
              <a:ext uri="{FF2B5EF4-FFF2-40B4-BE49-F238E27FC236}">
                <a16:creationId xmlns:a16="http://schemas.microsoft.com/office/drawing/2014/main" id="{8A0E9B00-9E97-3E42-2A0E-7B2E3B792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9812" y="1303290"/>
            <a:ext cx="731966" cy="41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2" descr="Amazon.com: Seafolly">
            <a:extLst>
              <a:ext uri="{FF2B5EF4-FFF2-40B4-BE49-F238E27FC236}">
                <a16:creationId xmlns:a16="http://schemas.microsoft.com/office/drawing/2014/main" id="{5B01F7B2-9BA8-2325-6ADB-50AC7E740C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3" t="14021" r="13646" b="6249"/>
          <a:stretch/>
        </p:blipFill>
        <p:spPr bwMode="auto">
          <a:xfrm>
            <a:off x="10148545" y="1448477"/>
            <a:ext cx="800275" cy="174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>
            <a:extLst>
              <a:ext uri="{FF2B5EF4-FFF2-40B4-BE49-F238E27FC236}">
                <a16:creationId xmlns:a16="http://schemas.microsoft.com/office/drawing/2014/main" id="{F86EFEDB-B6B6-A790-70C8-CDFEC5E5C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0210" y="1303290"/>
            <a:ext cx="666583" cy="370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6" descr="Oseree">
            <a:extLst>
              <a:ext uri="{FF2B5EF4-FFF2-40B4-BE49-F238E27FC236}">
                <a16:creationId xmlns:a16="http://schemas.microsoft.com/office/drawing/2014/main" id="{3B5F7241-C2ED-7099-2596-21E097C81B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2" t="34036" r="7244" b="23722"/>
          <a:stretch/>
        </p:blipFill>
        <p:spPr bwMode="auto">
          <a:xfrm>
            <a:off x="5938644" y="1392726"/>
            <a:ext cx="731966" cy="25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Reina Olga Virtual Fitting Room Case Study - Style.me">
            <a:extLst>
              <a:ext uri="{FF2B5EF4-FFF2-40B4-BE49-F238E27FC236}">
                <a16:creationId xmlns:a16="http://schemas.microsoft.com/office/drawing/2014/main" id="{8C7BD7FB-85E0-6C26-C695-E52ADDEA22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5225" y="1400002"/>
            <a:ext cx="804728" cy="273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8" descr="zimmermann-logo - Bal Harbour Shops">
            <a:extLst>
              <a:ext uri="{FF2B5EF4-FFF2-40B4-BE49-F238E27FC236}">
                <a16:creationId xmlns:a16="http://schemas.microsoft.com/office/drawing/2014/main" id="{5331DF6B-F22B-E667-9C59-ADE3295484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6" t="1" r="6333" b="35"/>
          <a:stretch/>
        </p:blipFill>
        <p:spPr bwMode="auto">
          <a:xfrm>
            <a:off x="5004216" y="1508720"/>
            <a:ext cx="878829" cy="104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unza G | Sustainable Swimwear &amp; Bikinis">
            <a:extLst>
              <a:ext uri="{FF2B5EF4-FFF2-40B4-BE49-F238E27FC236}">
                <a16:creationId xmlns:a16="http://schemas.microsoft.com/office/drawing/2014/main" id="{0AE7ACA4-4C69-6962-B20E-E816D9752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281" y="1310984"/>
            <a:ext cx="411731" cy="41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D9DC971A-5773-6615-0534-1B42270B0AF3}"/>
              </a:ext>
            </a:extLst>
          </p:cNvPr>
          <p:cNvSpPr/>
          <p:nvPr/>
        </p:nvSpPr>
        <p:spPr bwMode="gray">
          <a:xfrm>
            <a:off x="4155141" y="1257300"/>
            <a:ext cx="849075" cy="4913414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0C3248-BDB9-D903-F6C4-B4C00A23A75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4428"/>
            <a:ext cx="258172" cy="257443"/>
          </a:xfrm>
          <a:prstGeom prst="rect">
            <a:avLst/>
          </a:prstGeom>
        </p:spPr>
      </p:pic>
      <p:sp>
        <p:nvSpPr>
          <p:cNvPr id="18" name="btfpCallout943730">
            <a:extLst>
              <a:ext uri="{FF2B5EF4-FFF2-40B4-BE49-F238E27FC236}">
                <a16:creationId xmlns:a16="http://schemas.microsoft.com/office/drawing/2014/main" id="{21B17648-04D4-CF65-0948-B2667F8E633A}"/>
              </a:ext>
            </a:extLst>
          </p:cNvPr>
          <p:cNvSpPr/>
          <p:nvPr/>
        </p:nvSpPr>
        <p:spPr bwMode="gray">
          <a:xfrm>
            <a:off x="5273131" y="955344"/>
            <a:ext cx="1219827" cy="362190"/>
          </a:xfrm>
          <a:prstGeom prst="wedgeRectCallout">
            <a:avLst>
              <a:gd name="adj1" fmla="val -33776"/>
              <a:gd name="adj2" fmla="val 90176"/>
            </a:avLst>
          </a:prstGeom>
          <a:solidFill>
            <a:srgbClr val="FAEEC3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 dirty="0">
                <a:solidFill>
                  <a:schemeClr val="tx1"/>
                </a:solidFill>
              </a:rPr>
              <a:t>Zimmermann - Diversified brand beyond just swimw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21712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2yC/PlGrDxgdLwWWGEx0m9D+t2fXK/lf6hTKdKx+xE+BUHNlHtJuCzwXexXSj8wKEU+xapgRZ3NPblvqADZkyqwBrOsCeg2Qit4xUzZ8a8vDFNFm3ElNmR+V4+N+gdOCzF4fHxuC+sO+U4cAlJNWrj3Fb/jbg3lTGVZuB6HM5EkceIOtPgub2aPgBere8bwmRWrbOOYER6zxsWlaDDCiPVZ9amU6mBqGGCYhXK0CbqgonnHsb4mmXAit3REnhzx9X9p+P6TIxm+VwyxuXP7bwDMbxxVt4azC6LbJdZ8cVw2OqNxef6WeT/dLBSP64JQNb+uDlvlJGqgYZpSZdAC5zViJYwS4Q+/9bN5bouG+elBJzwDQtV0BXZjT91xO3iw1Mr5PF25ifOT0YtPxZW1K1h4mH6ZzM19z3lIUjgwsv4oJTDkDISqrG1R4fJWGTcofaYM0FxhFL/9jRUW/icEtoDWIVnI6rM0/pnqDdspJmfc4dGas9UEe2F7dEAL+3c4Mi0U2GyThhVjivU9/nuXmRvZuRGBj7kZ9KDyQQXNqRPOB/2Te0KG8x2zdEMrEwscCzD7rPuCVc7Yrh1Vi/iZT8z/OoBwBCBBIgZaSr1jY2BifhPhcOPJFwM2gQB4zTDc6zoyTEta3MZyeisJYINdJYEYGzl8SRbk5vgx3t0udrX+afhWioS5QWNGewrgF6oX/BGgzLwuIN9uFzCim69Xl+qJdIFsnGXidEwsRiAf6y99dsYXQtYYECcCHD2aoQvPWucFz9ORg750JM+sfhoPCGcOoOfYmlmfF1dBNVCkrqjDCPY3n/2d2LaMHkWmpxzX1QOxobR4bAEKUAgyL+MEd37l6QXGWddgZ0lhjuN8aTYSAmZ9ApDjAsRARHvOPsWuIXogny5PCgYabuH/m3lLbV3ix55wjbobAgLt8b1F3xsdfw1aj8z/ylSDe0ETAuvvny9ZJ8+PYVVuxxFihkBo7fAeQwoUzIJqLNZBTv62L3+nR9WVgNsf14KSiZ/8KOrI6LEVtqYbLUR1f0zXCWegC1ZgvQZpd8Ep6IjbDKwsPaFY5RIMG5Htv37EdjpZZE9gY4zFinsI/w5LP+E2UHHAwR+vEV5sGgzIy1aL1P4wKMxlmB1CXQ/fBp/pgWmU7lCaa/emUoc4Q7Luttl0Gd/IyTXGNou1z+wMxwnUVt9wWnz8NaMoPJGdOgnF2VlFgvXmtUyAsaBR6wWNqm/Z576vKoGE+vvZKdGkBBBfO8ZgM0OCYp3XRxfTDGMqlkRQJvSPapv0OUiHhKTBtJs5iS4lr4YtfcNbCwjj2+yw3ErOSlq3IVYnjQtDraDbH8AeXGd38bja5bHHPYPzUbnihVw3n/SBGxd1JfpHRAYniQxsp/HLRZ7DnHFIn4MCVB4Hdg31ScvlQrvN8owzyZ0RteGaF65No7DMfmFlM1AiyY96pgmGQ+CuDzfdF3htUxjsQ9F9irYf+l9jZbHI+DSZNVN3sZhx2b1fzT6pcHKS63v40RGmNpHsZgZyySwf/TjpuQnEvkA1pZ05UZCeBdfMFU4rJf8TeuwkZ139bSgavpKgCjUmt52KdGeb9YUysVglynbLl1rmRUyCsJ0UDfvFjuGP8UOScq3Af9Xl20SIO6WBTVRxE6ShomaRp6y5r1IwU22E07yAHbGXpMj2WsY/Jx6qypFQBoFY3zwUoGsb3mw/oGwlIpCTBN0zpUygrbWqveJF+uHQPoc+KXum8DvcF0fevx2E3cphff08wFZYZdyq1D/TQmF5xHkY5nKtZ20c4HA90IQ9OYDj3Y9swCi6BJmn6Bi9Ki3Oq+G8on7muDhCDpKhQXzqK7AwjbcPCHSVRs4TIJDNoO+wW39BGVlvv5Sa0LpBQoLMIrG2yt7XKiSL+hv9EuF5lF0v9MRsHVi6TPAYzNp2+B/1RZyeCnNiQqtEADzY7BmL7U4q1cYhFGJYezkkPA+jwBaRZj1f0LY7VTpEOLRaPO1dy06NqOhlUjNvlOOp1lBw/5rIPVnA8djYBXMLb86rcs5eMzpEK4r2aPGfmZzmsHB+7Mgu/Jpc84Lx8WqvBlOsLQZeCY/OJJAAX7zIlH5H2AuKeAXICFatgEI3FWTK87bzS1DdxtoTvV/JYeJtgqwdy3rMVZCyy1FtyapD8aUp9If0o53qkBn5gOurfHISBISqwXjcPEzd3q0Cjb+kFxNbYwEQE01IiomUro/7F7Cfv8LHkQ8gmcZaQRKoCAYg7bTTx82aRpDaR8WPsuDL+y9MLvPKdwDxAaNe3Qvv1hu1kOSmfuAouSHK4zQRBTMd+bQG302Qut6BflKHM20/g0/qLyqjvPHCe1yBB/ujmLKOuPKEhrdehCol1Mb/5U/WRwAXpv5lFLkQgVovH7sdydAP9jq1HkeysarYE7846dWglEHltSfRnih5kAaJtGBHWk265pKJZFa1KtJRqM8y5Lo74To5ojHGnwTlChTrMWDfpRPF6kQ2fKE+lsvovyaB+LZ1z0gE5wEGaEiYVeHDrxuxf+NbVhmghQG2+W5q4AdtUeTUFgxbp+/RlV0L21zTZOk9bZvlOH4mwV7pJ+Wuj47953sIsANcPd4Bdd3mvacTIM2Hw8TyprCTepHyBQBfeNduFHuljua24IVWADLMZZtNQJuGoa594ntbpxhOefcstJYK6J0ACHXMk12/X9l4ZmdBjS+8xdFjFUIqjtjs84jh40dcRG7YvIAVnUXJVr820uX2N9El59PpTDE7i0LgFkIr4mzTVMDr8w9P7t3HxrOC/j/6LzXKkwvcCemMj68KsQ0lyo+OAj48QEd/z6PoFoEAfOCNfjTPs513+puAnDIl9YpjKRzI2E0qcT6ucZVR235PGivpZtbjatfJS3xt64sIqlUiUistH8wmxIDToSDFso9g5Ogp+nEMg3nolqKC63hffsfAnDA7SjF6XHrRIoLk9wCXgg/RUmMSymrWNHJ+AjySvawu+in5vx80nyb00czo7XD8GBdXcEYJBDW3VfOb9E+VBH9SBcEDC0WuLw/REmgXpBy/1o1iOc9saNUe24oOaui7iCJ81WDN1b/VjnCns06DjzvIJ7I9RYNBch1L3o5+o8rnpmL1hThiyfMwJYklJfjB89k2idUY06VWSfFeDmMz5wrLqdDY7v+iPZE880icMs0fZ9hXfve/7dgwtSaTfn/vSJFtlwJa+s1L51sOFBOUnPH25uqa3tZHg5CVn48nizA1f8MdIr/44hZ55e8gJEJ5W378KhE0bSAq7zvJnlXIWJABtRhTC+2fhR3RZV3H4PB7BSPXjL9IrdYjS7bAhaJzq1ZtzM0fvTGZy9Z/kDtoUPFXAy1G74UzefrlmZ6ibgtnku/r1Nlm6kMkSiZ1nFSHeOilogXaaEJLqZRQbHYUP3P/tn8ChTnN1NcAADjKkqie141EZeBGvB7lkzfCD6y8JPbt/WXJNUZMfcYlpXS8Tc1H52HKbpP/X14BXD8LF/SNMtiXtK3CQUHC1h+9RCRGIa3vXIoTWqjwc3a6pltkM0vUpbqwOGWw+f3qKxE/9JqatEhAYo/1edeETunrNEmPH07Hl/x0hIF3B9SQFQbtMmwjK5/ozJ2LUXtwjN2eJliYTupB7Uoomj+fWyDtxs3S2GBvQLYkjqW6Tq3wjh9GTCfg1/a5ITWtk8qAdjS7KweSFSd6iPCL3k351XrbqfwAHfI7jKip9sSWrRYaFedPHylWd/hDYNaSeD8M9AevUsONPfm+vZdopwWSwkSl++wGIMKWd0pndQT6eVyqXyPkqxmd/M/N0jS2yumgK2InTTZt/OowRAoSMDgSAupIoCyrM/bjI5/R02+2h1bZ4KKSBzpNN8Fd4zn12dJzrjLNn76/Axlj1cKVTOoOeZ30E3z0MWVZAeCXX2rdKA8WyBLrwY3YIaEC7RzoPfqe152OLS+tCKeHZjsojcqXZ+krBFcto3LViVrbaXYe0GsN0f0HdFA62LNzhQOROhs3O0Bx/GggyBbQNt+FJDgVYTU5vxkLH4gX6A7M5Z/usGDyNX979myo9kfLAPZ6H11abbzhuiuUNisDHQNAV5WXmM4e+50h6upZzMgkByIr5JEul/cSJIAqnrd4AS0xTurTmZvi1ezZjFO3SkXFY3bFKETKjvRyIRHgJMD5+hsPMfOPxybhTxwhXXgiEPFAxZVTtZ79B9qQhCIOGUKfa97dOnwfv0WKdDjjU5CZfwhFi3wx2gnscsqQ+La4aFvAG6lMFgqgDJFwsZLRUyFrP/UEl920qpESNaGPkj8EIDhhoFsYc+9tNcFoJ5nakUt5sGffyyggYTiVdIcmVOmO4lb1OOgHvPeokArWYUnmCC2FZySqffWv0YN/A4xyrXv2pXDXwfZqXViXp4SXUTC3aIhpRl7uRIGu12O4hQ6Ve54ymfGH/2B778yE5ELtuLlRxv+XFV+HZ6pO/ke7AHBlhAXKNZC1zGkF5968o/cxxKVdbfkrLo9zju0jH/F3rs7YGBao656ipKsAWRa2+M20At+zDykA8Wylqed6dvXOieKEQ6E2IU9r6EqIPuDAIsC1JNVeTHR/V5qVrb7NfCFLBHi/wv9Vvij3TbKgAVBMrQfOB1uHbBCnbUUhckXoBpT2QoQWYOG23RHBU5cUJt9hWRZL5MggHPp1smc4Kr3jctnKw5FrByNX9Jp6Gqs6a2REPUwKMdPYiBKKU77yY3p3VmpH/DL7KHW+Pamzr/BP9SKbKTFg0D2NQCqm/r3tLLBGvOqtXv4oKhy4c2PyMPAwmiBu1nJq8dKeKDHTP6UyUViU0gnO+shvgvkDpfCLCND+y+Wy1kcTx0dWZXQT6GSrmJwMWFJCkhrFUH91Nou12W25cUDJN7xfs/S6TjeVRBW0sRD34B3dzR9Ldmxxr9c2cdCc+0jy+YgsWuBjtsxFG9dHsB8BSHrzzUcAgFoHz23giyxeYE1o3poCNIQFUieEZDS2Gxsdy871JHd42JahF693vVWe7FgfqmURckgzCHsbjUirYiJwioLcJYTdlSpDup9larmiMIixQruIajNc5C8x0/reYl5058u8HukeJp8IL7JCGSVzFUMB2/q5v2QUfzee3kK8c5MlOwy10phhI9wit9WDr7coO6H/vcNMPVVCRB825KLU/O6aXAO12gWgpEl32QPKryoa5IMdqWLlHUwQSOOjedGFFFHNtVGfrV7TvGkW1Bl31uVEo/gUWAjNyYt6O6rRtvevF+Z+XmAxAnRLtBJAv/b8qg3Rm/QpDi/T3Cs+kBs6aSkpzJWsGab7umlJhCNw1ktDhAgdnWBZKj2Tmhv0/6AJeMkr117q8eOJ51yWQGg0zNb5BhuK6gtJkIlRwKKWYB5kTd/ndn7iRfowEWSkM2hMyAW9oj093RUDH8BQt4IMgj/D641ljPOjFjB3rFBbtmshV1Gev6T2ISoF8oM38YDTFt0xK2D/V6w2c1OfoTKF/HeGxqREucAmLx09Cr31RWvoJxmIDpVjNKzFOcUcLRpGNszpXx5MuKozKnj3H7AKVWrDdF8iQpe1aCmOeOz6LK3ut4h90oPpF5qcHRqkKEzss3wUrtlpN+WpXoDbEoqgjgSnL+gd+LvGCYPFokQIRLSbQhb5R6qty0witGAxFA9OGGQgrTJ5nCWBY38ZyOjEIGsko0g16MvHOFGxmXHeVFpc2IP7uD5Xbw0oW1Ygu1kHXeEPsgf7IT/ZZb3JObFhm1g8wtebT3bPjTKcP5qRNzcyVm5I2iR9tEFxWfzhsmOqmK3YlHk6fRd7Ztjz5BUNf4LhWKg+j/U6iasZBIKaA3ceyuDPVmPq5PIMQF+CDUb/CHjhFqXgpkmm4EdP7YRVPVBjoVyufGEkJk/1D1+U0j7vstEoFJW6Q59liotLrEVn75A9HuDDc7SjUXgLRaPFztL6hrxFF0h/boOVlstCEdgZ9OahsznCCZqLgoMYaNTtpanhdJZK7JRL503FlxhY8r8Hx2Mwo7GFjiO2+TZSTZVvhAHqMytIRTzaQ+fUE2IJ8cFLCNDOtaotjYqVjd2bulWrJUBxg7F84Tkljq7ca+qxroun2vRjgNg5Bxo7TneMqQ7il/FQWHgqu4TCGNNojghILE0Az7FJQuK6XLOxr2r6hFvUhCOHNWpkseWIgtKxIDcgacArzxVcNUFnw061qzr5HcfbRC0CdF+r3zmrmG6W0Ib2lE8mttKQPKzdLEs+55nmrgTA4cNS0FNzlO333ZaX+LVUGF78sB7mGvIZ4ZEq5IK5Owy1C4oH1EGsyFKVyPhq1fI7x6OmrNBIY1WsyxY4HQZX37sUrypadZ+xJ+spqF3p60iWCGL7LESvqG76P88fPgPJbSGslHVXPU9QCI6nf9XliaaSpNrTrtZ+n+Qz0avonluoIBjKu4FpLRY6pPw/ZpynVxQ/LfoetfhRfvNv3AXdksoLXUhgYQ3PfTK8RASv1yFJz5a3LJVSsi5mcLTOisOvA5aN5XLigXgdlZfdQxkUzb3kAmv23Lz0RISrBb+Q15eUXGAEW++j4HW5wBFlMGAO0i7/WthUwbCjp19RP3T+o+sND8aG0RAYQkYX7whQIrgwdwqRCmOQNsDHOcGGFPdO/8eRd8Nh2NrsRKXkDzYWPzC9qTj2iZgHlwTLrpz5r21A1Q8SvjK683HThRUD08BnJl0cVNsycyAjMZLwjA7IQ/xTkTLG0rWBKapje5acDnOd9XlHFGcIlDvVUG0lw2RY8lPpsHwroxCuCK7fCtDpuxJEwGjvVKT7ETyQBIC7+5coLZ+AIeV+cZFTc4DPUWIxFjGAeJ5Ok1ei44Qvej7VuO5sMGN0Fu03Fxg5Otwp8rcnfkIiSvs2SKMW9vXbQHAD404N9D4k/fldjal+taCL9pROk7DgQ8qbugwTIzYeJsR2H2buw/bhOUnL+AwtFp3UkkjMhYvjHa6/aB/KFTBRBv83if2wIN6UiBtEYzoY6gTkqwI94CwGYZSaK4AnT5zgunr1b5riZLYFBwPxNV3lYI6FJHvMQrJC+FZ8oRg4fBk2n6r7RWAGx1veqLItXv1cz3JWgHNghq+jHCgEQXi98unCXk1zknDCLWSpHuvY4U/+X5ybbKdjRu2xHOx5VaPlLLGNLfBZMFK7OMsyPGWn5H+miGTl2Yv/i6IQhYHqZqt8tkpjoaGlUvTkUuQoiVYagNXnvNXt7hrgz4f/3PT1J7I9v3t5FpH5O6xP6kido+hnn5Z4VOMBrCLJaGB3I5vicprrPAwaRAIkH6N+Zb2OjB0uV8x5Njx8d1aM+Ndfv7uXqqY73Ew7QxZp5zjSHq+cy1cwdqFvCQCAIa/gCE6jImmrOnLc1z0Sd7wCe/mOsQFr/Xz3TInM6r7wExsJPH2N3thPFQYqOK0GTTcV84NkP6U4+wwz7KWJaarc+u4c6oirjlhF9lWAoAUpu6jLHVejpj1Zfr9CD01ddtnMcI1upY6LKqvhjScLxgAHDl64snzWWkLwM2bSUWWjAvkrz3BEjA0pk3ufKQ+UaNMA55HRP+eL4+XMhtRlQ6mNym46YLiEtweyJfY85KhUCfbh6EO/fNixBwQZ3Epzngvz5y99AH2yoSP9KKN8ZV3m1iWUQoY0AUO0+Z2rJQsyPxctziyiEIswyBEGZgx5dyadNHpcoyg7RvIOoWkAYAH2jQCOgDBEoFKQCaymceDZKCQEYey8DoUfAk3bxfS1HDDkhI5p2Tsl0C5BF0+Xoc+tFnbTGBAOZhZZvaISZJlX/RzaNpxrFf+7zK4U/Fv/4zWY2/A0cqXwSPrvO666KbpyLfJ7kvm0BegdApJWQXyMFrz0fkyRkVZug0SNLn4KBUSUBf7AKUx1bfMm5b47KZe5k6uxGaeNz+nxw0NP6u56dLOXqt/OfIDjQTgmVZhPOG5u10vnvwFT3f5HyIkLmSDPZjzctmQn6Q7ynk87BolU+OmyuowXNpjjcoyIfFVtiAtfbSZjVdTSST4L9dNvDM6H1xx+JDtJyAvF+MrxESsS3RmCsmjeodTAVheftNer3/VhMuXMYwtadEojqkU3RxFZheT18RxxI7zxns4+va0xPpasRbNE8NL4YmxuXayos3TdG0D6D7t3zScLmgyRk7+facY+JNFrrnSwKqYnNKYMOi7SbpTQTe8IBWyRea6yuMGPsWdHu9MBFCG4agHUcN/jlgXAM3uJXynd7UqXr6dqI8pMCoahAAIS/8RO/deARoEhrrSpxjjCLEnAZdAjoXaCUPdC/Logj1KW92tNRFWQaadH8fl9Xntpn88fUwnYUhxeEfYEdplApGV1DsfHgvJzi7Kl1CAgfXFWevVNHHi3LhGkYvAHEpUukEK74qkAiPGR8AXOSm3ALuLKHYkLmwk78+Va4RFNZPCc09kb70KF/YBDw7OGW7U0mQQ77PxytnyBiClZfOfM0MCVW3wF4kanaoMtlNZUfNPhfuGxJ9CvccqLcyzgzVOnOG+vSP13fmZ/lahfuCe5EU7XOzfvgrEKLALEKX7IDPgDkmjt/ntCstWFz/V/Kt23vdyhph4BCb69o6g7Tyfrvs50Sipl8X1hbEvQBAkavYjg9gTMaVMsx4sVZkfJM6bqAjv143A0yQ71jBOUiA3rdGbypafJnVcB9R7IM6aOHa6L7MyQ490SAYhbgYVUzn1cMEJJJXsQMT0d176LwYczdglP27XKrpmXba2J+bkIkxN6567dyJ0Cr7fULQXNopetPGd78RF81TVhCIPPQavaEwJ8v7gN6oK8lSWLtp34j3eRcXpLYhep4HhR42mAhWX6BdfyhLjLRMae17vFJplEVrnYuJP9dSVnq+LDM6gkutcLNjUke3c2v//7FG9ZvORHeNwrsU2SCslzs2NPisUeWPlN26qxPDuBppNpLY5Pn+wjPfw+Vicl4HoOsQ9wB56WFoOv0rMc4bOX/Li4od/T9dHd2cK5kkV+k3hKZaRRNoZQnCpT0cpAJdlQctGKelBrWS5BFmlsmilMR+O3NFQQTVV0Qy+zWT9B25XeeE36arTc4PK0fXZSpvs8/ctfn8htGOVD0VbtTIj+TJESAETd9HuD6ZTZSI+4FHj9ELPu4P9Gvhg38OiYTOcbOR4LrdfzvogGIhggPI3XJLj5BOYHnW48UujowP8Q3Bptbugv7uZZo9tm2lQpt3VGFcryPrNKUwdLKqzMgmJlGdXJ/EoeBDy8GD6L4x9ScrBTpVP+cCCFJA/1Z3H+t9FUTcpWBjV+2/G2BKg5JitgRhyBs0pTqJNW7+gpM1Qm4TfzcwEpzVGSZ7WLA5LsgEwsA0BQFHz4PjSkR+B4/2HhBHlqLkEZek8wbhCVTOmCWiBvyK0Fq3Oh2RNVxMZ8R6CLq3W/YO9DTTw43zFTK/lxQd2eNCCUPKx7NbtBBnDYPT5QT39kKOfQ7K8wyNKE7L8KYgj5/aQyEj0Do5sQ/QwH/r3DlMcSEBkQi/K/xuHuKwf8BG20xPW/Umc+m5HCCbsLcS/PSf+wfP035lWP17tCGslnthBIbKxN75DJhEGDk/XiBxudGn09GM9XQa03ul/bmu9znikH94yZLoHJOuBqTrl4v8whebzQUeGPXiwZ/jILqjng6GqK/OpLK8ykmT4mXVM5FC46V1dDJHohTrJOo2uwB+v9BXvHEhPLDrFWgEvXmjqdDz+y3jlxhosIFgx5So6C7P+Nf4rk6xu6Hr1oqFMYfdP5YjmEFaP1QMTatWl5+uj9d+jyrMOmqXj3gIZzV9DrFdvrtDHAkGX1P/NAVOxpHnnlkFQjhp4YfgK19S7BNU7r6ub8LPZOqhwjGb88JGwyrGQ4DNckoMIG358iOlyuncHlT/YrX3AoxasjbUJtVFA5Nv5UZJM52GCl/2x4FcPF7s8XWBPy8RkpGXEkCAxGL96KszTCX+AgI6vBZJLGNx2OmvzRuhy2ym/M3Fm52iaP9fEsyIdk2GrAfF9bZm/l31DYecLD1/jZW+oWA6Lo77ZIsch2hw29taPSi05wZiASiPsfKiDuX53ikPf6sHUxkspiU/ogAZ02+FZEAaooUm9/3yNWeI8mW2DDxpH7zSxUX6LeF4gSO9xL93tSuyNx8DjcWrNnWxnBCoJB6GEyh5ZJKLIgZUhdIhKifCCbYQp+5H8aaZOFk8sPRFn8iztnLbMjqDYy5zqZYjm+4qIf1I5C9P6Qf/9vUCKraqlSjAx45LiyU7jYjPcJ0RL3P+aYR6ia1EYZgJCL9yJbYujyFrXkdCrgoi8mVH7iPDvGqYgALi1d3n/fx4ueJHHLm6buk+08X5195XCOZVTENeiASKvHKIruWg8kzZe2m/HSGCYmSJ8BVkG+sfWS8f4hlBDppmDvDKKEb7ISqOjByREU5b8dG5fhoJODsSAjZ8PWWBzo1YlPd3+V++90q/GsyI9gA9TEvPkxb7K4o6zwudw1cDPiar2CKtB98robPhLdXjTTROiGEeRkM9G3xNEjorxG1BmImbs/ZCUVtCPaeUm71979EJSl1cCu9QHxj6+tTrNVqIY9HkOgH4cgSbuwCX+BRsOfpmElzVeIoUjzVr/QX3v2fI085/HIkJfVbtb/tNmbYVesaKU02mkl8h1gCFeBPUlK2YYBCMf8BWpnWJwajLPMyQ0sv8W8hbe2iWjQmzeKk78t5xjv2lnO/f1bFlOCzoJ+5asJenKj0psxAm7LkkXCn7p5jrSjiaXrCEwGQSu4ffiRZn1sC6IkqCGKEn/e/4zjpf3QkIAb0YhP4U32M1FdoWKdKRZTaIT9Vnd+Y8QReMeWLNcOkYaxkd22MKKvMD0yEZr7zvfHfQAvllAX3H3zrlfuWsoDGPmrEwV1Xe7PT3UAof/jii1dS2nUfvfSYYaQ/LTYK2q2R0pSJslX+VScTxchOTfCPKsJMtQu5jNqYkuhQvfO3Rl6LNI+xlogqi1Z8ateY3b8zRMx/QSJog8JZj5qKBlGFgsve/Z7Lk9N4LbG7DeRaEfAtKHcY33uUkuNvszMtXpOlewBi7Gr8KVHQJxoxk9r+7bi6ayIx1ctdu0/nbs02a3+V2oBNksZAkKcm9lOo+VGw+ubVqChz0AljYfL2ieubFu3xdcUC2CXhE9mQHrdNbYKQX5T6adSTv5EviBVtbmHD+LTrubM6vURFDTP+6zAhiFQk88hVGqXoiJ/pDWBgpJnYUwKxQpXYLZhzVPMt7BdfR+P//qi+bXF7XlayGzBxhbuweYsxBU9iUxiePo6TzdQXUTg5R27Ug+wf8dJekh+0M7eWy42O3AeI4LCh5hvqUjwNyEYllo19XYfZEVLap3HUobs3CjIqhcyx+7NZYy3Z/x1jMsNgfFQvP4PpJlDGweU2nSfsRGuhx8wHCtgxEtbCVjeDOr8f06yQITpV0WW0cIrdBdJPQUgLjZexAL8kqXRnXKxJ/73CJzNLqzsAGJ7cYQ+0SsWoD6tYHPJvKgMYA8Ib/KwkzKiolHqBawDFUEVxY42p/obXHSFmHLWvehMcRVnvY929HPSWQoBBvyKLcs2ydq61tooYoKvUlO7iDxS11lm0G4aMXYILnfKqg0rM5FwQnzhm+gJiS+QEtSKjFSQTauime75gNi/QMp/uZ4GTbLQ1+2ydUJfygJg2t6B6nhY6vMdz16ysoBK2tBvXB4pZXs5k09MwUTM24xrVaEW3LO2xb3t6XTNRZCwDKBJZEEpzju+M/d1ukRqsmBsgI8JCDVWN8wfW2aTrBBVCpmOE2T054VMMvmsOmOPfdni9QYAhnINdSX1LSrBZmYMEs8oSkKx2bgTdS05O9JmQk9yJHS6i5klv9IgMSNJrVlcif7ruIWACGKpwLvKeuU+bS2dskWEPumLX/5jbT8uiiRH7Vpz6w8VkIcs1N/h9etADPMhVXDGbVoAnRcdJko5RmJR86lzwwz/fRLhdTJkvvMiRyDxMZkPm/b7sMiolMTQbNe2svHC95eQRvtAs+tccql70Yj1QNtafbvcRmVcOfraQH7CvM+0KMo+wjdHfLjVRGoZ4nxF/e0WI2dHc/vq6Ql0Ce10KUxasPjRXijvSNNRRYVx4JhUuWquC35229JZD/AigUcGjy1jEjgKfX/cIpLaRuRH+Lwh9dkkOzT4MLaW8rgo1KMP0iUHrPFhUvaAr0hU/UVUGXr8qBTqZxevUGMxlxx8evsexgrMC8vyX3DxesJkuiaLTLfS+CUq17uqfs+vz5+PGdBKxJ+5jljHr4mi6SdlbnPu8bJ1mE6DNw7MfKxRnd0lUVXMBF9jgewRPnHmCTxH0hYlTOIdQQM5JT26EC0gdcL6fnrwBQK5GbfivVYifC9rg0Lx+MYSjyAqQfrHYn+Up6I1sUcRD3vdmRCr74VtRRDJvuiAMDExXPLH5mplIjFzuosf8+bEsG9/pRzAZqsV7fBXnspIpKCyouD4GPrMBuXIdm2JQFY9WHyFR+d2KZHixP0M0AgLDHlIQNDtwTRHmBTy3rBhdR3GuKFe1ztVGfZVLdvTScCoBnoqbsQPdIMz5Lm7057jZhimBeQ/nUEw+GkXNThTfTdfnOjHI3hvyHiuHD9TqEbktOkw4y9gBO9CbDszN/AsI5tghxTmIGab6kCoPpRE+COStKuYEvJ9DC0HUDG5TxfhgG/RiUh0UllsnXaxy8mHbppQ75H2ctjLOvS89RbNmw0Dy+VU2fQwSFW3fwKyeTk2nEPGG5Dq7SlXoNUvDjRNs/k2FOEbPBGH5pv2vp//kZSgxCeS9jXnV7c9D2J0mikNSYr7uT+Mjni0BeMjq28jyHPtLrtMZ5sq6yAigQMX16XWIPfBJgmDSeY+yzPwAw0FmqR2hKcqtli/SVSgThZm2GSKOJYhdba2MgNSzSKN3hDDlg/UDl0s078ykAiMyPZ6LqAvDCF8NIo+aMXKchzmLoFlBYGyxwuOoGQ8KOlIMNMk++frdLswhDI6xP143gPnqxJjKgj6B8CUN9rCZd/rrPVx1MHLoGxQTH7cAsMlxK2ELmZ9crWipViEOuieTPZgloQSYltn4Lk/SRzl7NETRF1cP/wiI1JsiMjw6zOfn2OecMtzh6mbBWNmtVpGTkpickmiyhqlreQyTClLcR5eoGVwtslbdmwo75TE4qZjrOrWH7pypPZxp6N4r+JmjMxhp1We9fj6JtjwPdFRRWqRLQAv+6VsUfN3tF+9pFPSDAabLrFdvZaiHrDzlj8WiS93cxJcZZnFSbrMQQw7BYeweRxGUUXXFq7MV6yEMsPFeEp3q57GMNj3LP9S3O1Z/Dy1sgOXTBO7S2tqm54tVHtoPpQnac+zpjxTsDOU307b+RBYIOt8mBgVvfnT5dX0o01TRey4cYrHaHWKr4dFjWjBBptL2pZiLdXFLqeAOcnTTHa4iqaG1H1viIBUE+Ap0EyGAcpt+aXl5CN6TrkRhl6dDV5ATqXb6I7PvzjnN8I+/G6haZcl5DKTA/sSLz0dfpNMJbYiVs6VWI263F2S4+b6XAiaL47lgdsTQ1SDRIP+4sy+XI689pbX02yp68H4kxA2TFWnED7CIXraIMwcFZVffWeA+eRcIB58R8Asyp9wASpO+TbIn3uu8I5D3UM5CpSITQexjB3zijWfz8hqJre3BPM4l6NoVGZnzCHrLn8/iyMA9oeJlBO4HInS0Z3QQY109ycEQD7XYZBW3Z1ubTr6yOUk17Wejv9JLwvYBoHC68ptTmsJBf0GqxfTy5T71LbnJvTsc7tC3Mu0ZCWAs4glqSPPUgmKImcvb47VgdJGV4ADzWxW9YrSN0MnmUMmVi3DWgtbCJGfZJdmarClHYuyTe7vw8PD6YRoUltJP/3GpUzlizKQ/+nb8VnCUEgu9+pRQ/rPio5x7RAntNhsM5D8A+yZXgSAkVfM+gG0mHJcB2A48AKa/AlD8ONNXkxfr28/fZBW88fcaLZwycfnX8Mlew5Y8rx4TgdkiBPaqtDYS1LTKd6byzyO5uZC6dERjeofkzwR+mT9lrMMKFsokFLiCJVOL0Dn9K/fRkdfqHd1+hZr+WuB2IASqU0HeaCJ+jPBk/kU3AmdbkTFLnqX2LzKKU9M3E8uXoQj+2ivJSkV3TdVB3+i5I047VaD2uc32AVQfqUG9D2yGQ5E/ivoVo2Uj+fSffUKH/p3lP4LrwuUzRTlweaHufvDn/9GBWmQc2N5rb89bkh1049O80IyaFuQMSo5SJreGldWf7sXNsHvSQYSHNAlqNOmJruh/pcxREi2iR0R/NN4s8c0u26w737Zxgw95WwaBVp8KoQMq7zqUit1m73LE7ZDgDzMZTufR608M/vD+HhA9JuzJAW7wgxhlVVM60nIkVh+dJcDLOdzAAd3/XBNAiG2E75ZwfB9vp3rrtgOqj6GPfDx7/aW5JTbIt8GjmUMc4LU0emSPrYsKP/V2nmLC1St5vzVlaGyc99ZR+WvDAE+VDPWmZeA2QKo1Z1UwRI6ubuly9Mm5i8tpApnlgOFA+1Mg643Q63SvA6BSBYq0KU/40BxAxf1KJBgf20mcpHvlE1DsgKtwaALyJ7cH9Y2PCoC0kzjLiVGCrpeBOZQglx/rUk7czhrfU0/4nqOA7cGJavUr0H25hzs18P+38X+f1+368mAZ+F2EWIRTt60q4gq/22cYFhxxGUSzdE+YDnHpC+ohnPFsVMfWU04klKvT+JqmHKTbXSVtW/a/nShKrbfwHlkXr6G7Hw2C3l3Z8+EkZI5zAoWxOhuhlkTzlUVWrzuOKNfSi917PHxUDtJfUxL97J7tmveAf/tUmpBQGVf1AUXQL3lIWp+ppmTFSlNhZH404jHGlm+OzHYUH/qpZX5Vbe+f/djUkAQlhGI6Vx+2CG7MICNRsdL8hdAGJkoFPNhh+2CWNAtLXL0ETYByhP4251kfr7sEUDRv8QFjrhSnYORE265DB7UJVEw1pMgJ1VGdTrf8EMh/WxQLT1wNjjEvm/VCQRHa3o+uxiWkk0fIojjBdxYWIJVdRWOVfML0iCSRBL9wbKYzOvcN48aort+QE63/os0EgVb2r4yE+1Tr4VEXQuZBmoPw6FDfMjZoGGvoaI6S9lOrzOlCiMZzchsVQc97x9CGs5K/vHQn/b6mOEa6U6VqH/Lz0wi+yBpYlVgP00ZeAwdng9raf9RKucBNY/byYQo+04aBHUQ7ZxXqqGT+p5ual2ChGkASXSObao4OdQ8OnB2WWL7Yc9v3vyCuXZfHhXddXW8h2R314dzYbwI7jYBSObVxG/LLreFhJlAyesE/oZ48alFPWAwITQG8DzX7nJERy0Y5XBpiPaFdW69wi9AuGqKg+096ONZ43wOAUHA+BXjXAbFchiFfCxuvWJQYzuSv7zKoBKJZnv9BTgPlvGoP99+OartrOcAH1g1Bp0PBoCRFjwqU3/oDtM3KGH1fi2lm5K6wBOIdmQNUxvTWpU0F4UiI0xOI6EnoElKJhZw/R/9rKAOxqI9LZmiwQW+fVRcdgFpnOqFosQG8fmjEN8p2EB0iYCYx+TkPY2mU7MTvc1ftj+AuaH+GgGAoU/uMPC9Fy79+76rMPDCr7fDtCBXi8rvzDqDNedQG5cjB2iU2CpxCaLzrIo/5aJ3SQzgvStP/DOBX8bbZCfQ0aL4nZVQzR3lAHshynMvVyroXy0qsbNP4jT+BXVNUN1lWYjOG7HdYVRdc7jM8Bo6ost6z84J4nQOEcfYRwLF6PxoIAPX7j6O1cD7LUAw+evrPvnaY/hW2mqoKraPdoQhJgPsVeepDcQml1BLjp1JE//ZYjTtd7lagGm6X/4r7uUUzuA59+9BYIoe3acgltMH993XnxKuFbkHGcWcg9OPVHfjgNluA2nOGBFZJA4Nl2BFlhY5iCIxxqIbqGsoRsKoa6wGypkp8PekXn+g19Gl7yR65wN0CR4ifCDGCW0/sRoStFtDbGSkR9MKbwM7dwZVVr8irioDPc8aobBTxRynHFrAXtUEbpNLQYyGYFRQWxRbmnYx0Wi2OwNt8zPlaJVEsTKHa4evuorbBIn/+mezwcXLnfFBa3X2v2PrQqv0VFnxOtdL4xCb0tCvL+BFjnjMLuj0FDCLi90p90d5y9oqYG2NXo9CmJN8S6eSkBG1fsIZhyHf22J2RPG/f3un41BkdpUsg3mINOyrET4dOq5/RX3jI8dU4GxdA7PVeyxy9EgcsiVe/pHugmL0cBwqL3OYZeYxV4HdQa6M9SvF5PHzqdQW0HBhIfV1b4neL1bZNGMSLDpqfVW+hQnlKTSrA3NHm7nNvpcqY52TI1cCYsSLsitfbjjf2Px9ir8+YINiFyYv3B1NAwpEHygViexBMBl/5j+x5v/syuOV9rAopVvyvFHLBUcdcrkFnf4GEhD44b/I57gJo2TNxR+Ra/N/8oLg3hq9YAoFX3fW4mbcDSCBC/CMrfe1O5b/WFWtiGlWbBOHD4DZoGM7K8pFekuacpSPx104epoPGppg8YsKeJu0cU6N2/VoWywP1q98DAVB3eghmBopFmMolFZW0meVT2Z8X6vlXN/fJ/m2FMdT78nNrKjn3dPiavBEIGkvraJV76lh4UaPHdv8l7ogBXZ4//9tC8Xv467lsUDMDIuuJm05iOBa+hPEvzPZfWbH/zLyl9fa+Vbe60OpzLAE55A+l6l20wpdpgUVyJ8Ixn++64ZasKcJ1/fZtKmktylfUVfc3F/fsknCrd19iAT0Dg+M7WIc3iG9d+htcOMfIOBcgWafA49EsRYt3DkfJIPwEpk+uO69zCJv87GOtSsAROHRjdi8rnQR7EpiX2l+9Z4VwsNfQmJuFY3Zh8ouOTlwQA/qeKIUP6oI2QifKp0M5Uji4gM/8N2UR1cQh5TmTxMXYsUyWx4xMkWuQAIuRk0/iSiIQeZpxAhFlPpbNzRc9Wd7k/kkl1QSD1LQjjGGsu3+kOb70U+6/glirJfC096CssaIG+MKHKcma6OsPaK9qcWl2u/0JL3lDeYaiihlc56KvDDTufqyco1cH0gB6zg8Yxj1ul6EbrwBPW1eX6MnlIAWH5H+ux9oquRLDUHxqVUx+IYlVFcgLgo404SxBhqpAlObjNKAVk9xz2zr33ZL6kiMYh1ncJ8M0pYd83HKTxE28Vgauw/GaKtNcmB+kQiV5pBTHGS0e56ns9N9v8Fu2/A+SiHkkn5PmGpLsAYEAXaWvSA5WX4h49hsyNlWI1pUjYoQ6f+ttUsqIJA/nI6DUaCragxBd1d9Yize8Y1zK5gq5qCJGrh5yDEuBqrGMAR7X6ENkq2UTXr0ZoXq9/kdwSGfaWSJ/A5SpnEkpDr8PlLoM9MEeIvHGHvIOoT333wzvwpxmI3yMXNO76aBpPlZyG0VKkg2/BqqLV8zWXdkmO7ez/+nYuwVq9cJSdO33nFDu2ZAR1nlKqpfsFQJuC+Y59bhk4PIAausP8NNhdfgt8SSfiJkJ4nCNP44y1P3miCSiaojRn+1plMZn4GuW6yjuGMa/oTbk4gSFMkiS0aul4gxKFYjPZVfVAi3YmNPz/cm8r43H+8wnsgsEtBu+7GnUmw0gkqlAy8V7P0MQDvv77SknspydFCRy0NVtAy+t4L0IVtpB+q2qMfk1tAZbzLDtW4j2oFN+eKrsF1dI5QulP63ReVFoFczh5W67YE16vJX2KYW1JSgNL7hLA631pyzJly5YLirU7zgEIh62Y5tCtUNKj14nwk2s5mVxkWemT2BB91PoejFtTqdtym4SGHIz5mykxUxZZeU9L7nl+Ybr9IduRpzTW+WSM79IhUrSY0ftlIZ8XiSLw6phB2II1UNAKApcgfj8kPdA0tKcjFDQTEJ33PwVy2eAnB7Bi0p20m+WvmTVL5be4gLZ7IWDCVDoPjCIldIZLh5jxo9RnJ1o9WxE/jDD5fYsAtuYsyp0AughqpaSQCU38hOaxaIP2G6d3BrI586sp/4hrEjE5jrE7he+F+a/U3sPISNzW98bZbPa5s6IBKThn8Qv0CQ9UM+1V+pbu+jpLNx2EwYr9mWSsqMwo3CUlWZjQYHe+7mQ0a1YeYolf6RLYvzXMu92he/qN+sKntf18Y1d04ukun5yIahRYGW0/120gYGlDYaVF/AkFHSPhHQvQo3ITO/CAuj4yVQY2lYs0v4v2MajhSBH/aCeBeuhEyXosftsIvvV1zubeEHN/1xDVzfF0tDhL/v9j0yBaM5ZiX02qbPG/nl41pO2KROX1izA0rXfnWrf/KyUxaIryLdai2ihXZP5veU5V3QRy/P/xCXX9rR+NLO0XA3p26fsf+FjFrNdP7C8kBZKfIw8Cdl0quBBTmJ3s5GCwnAgxiDBLx90eDOqbwT58QfmLrhjyV+1fMqjFrGPtPA6T7awaeURRud1BzuCaNQjHYl/0oBbU0/ZmuokNAP6nsP0sWbHAzZMWE7ZCA//FX28JzVnVMOGls/VsT/ioCLY4bihNsfqgEP+algq8wlIzkGnZwNWdrxMFgs+hNjfSZAXVvpJeDLbNxsgbAdQR/gjQU8nXPcgPxvw+NQps2fsEGBupuo/tx7d2F3A3R886Dr3BSHV1j/EEpMJSS5F0v8rmBzSG7xxC7U4FwLlDrmzkJhQsAaIIIDyc8wfiwPZeo9PCyYWV7JpUByWyer0kp4kUCuFu3iTyfvpCdRzdzYvAskGaU/+jsZRjtS27GKmqBhFrjqNG7he5p60MWysJXlplXX1PG9TbhPpS7xdO1hLyp7ZfzuOghvgIWdRc4MUKKsmxPB8p90pjyfJ4wdim0s2vdW0mSNii3O0e3BHxuCbn3aMHX4CYhfm7os2ep3Oo+oSI2/SWNwReiFZ9Cx4ZylfHFL6CRA+vG4bmbwJS2khEEMaCt2XjQcfBhwuulOaGy7N5JN0uT2BAvlE5K0TCg1Xbi6w6uVOVFjfXpg4WJ9akFaotIoxLLz7kujS+Iqte9DuFgfIs5uOA93+GRBZhWPQThNDY60gRMl31qmzNiRsup1Wpjx0jLJRKXMGoRvHClWUF420rIQAG/+Sm/hP+sBmHvPjsi7UZvaZuZyaKWMJKoSnjnec422qDtd3sycwntC/ChpqUKtXTxtrS4jGHGVRKFOUeSgZM6QsoSgHMHhDmUdJXPWSH2XmhPacDXhI+XZmlPSY+QwtX2T/3t8YAfRmHARP02u+AC9lKhH77VtHPNkF6RbSgR73YDwZBqjXJyytGYTN58w6hk6c88r1Ovyt6GPEdZQ7TNRFKeZPYqfdIfcFNpzIsvz+jqEh3n0lEj7GAG2iJ+VgnyN9EJ1Zkhua3M0H8jWgJj3mgS3MYTjPMJ+o0yuw+WwGecD/YfeeNJSr6rW2LyEuTZ71KxHDan38wy/CQYJpXxclpTOqCGtUwBRRDiOOgSbh202ryp4r4puvXrCxTyAmo+r9FdsHgtvO4ZFyHWu+6FYutF4Thu1scmTKVhhYJNXMep2yLeqYFxPQIO52OcS7Y8tSH3tLdHKhyoIUy2Hx6abITwwRGO6d7q4QHSCw9ZNndZdMbNm/8tJdwuYDqVUH8Aq0eJoGYCavC2ETsfymcvq4rWE7j5wFEZ/5PFJV4I7VG4dK/MZrV1zMhlua8zB3axci7BCQqcl8GCEL1+3iMtMghAtCxXU1KQnlm+UrPnXeYxXZwoiTPZChlSV0ukWSRMcUQ+xlrBJKo8pBE03uz69NnW1BVaRyAkZH5YVz3ZnhfvGsV1QRUaxsAiakqqYIGzIITcTgl2whJQ1K9lUftZDT4/Cf6HnEMP6ckEKq+FHKqVIit6FWcyAu/mAC8KtvPEPWnivmORu/yEnAb+wr115f8BXcfSdwLL0JWgKafhJCYNXq9tiUC+bxp1mJTbpSYZaIfl/B91pM1p68D7SLJ6Zk02rXPkW2mSwU896LmgBOtzmX4xirkeGxBBQsWwr7ntSaGUCuGAogxe4oHbAYTU8flgiaomNC7Ztqtc62auBiUYQrWsg6dHEFwakX+tUtl6vbJYsv1qqla7viKmDXJ6jTrZ6JS6CzB3hZ9bvLvHjd8CpFGztfhi54oJlpNbGxjZzV+Wgph9sAa167iM2lulML4N39WP2iAXjnwwiAtvsuLkjwoUvgKXLUJvwsYodD3CfyDQdPdev26J5Efz0D4faCQ00w7VnZO+l7YKZnJHLCjJyMEgDHbCiPn8dV3pXSYCkxdOQ5r2heAwUBfpJ519h0DGwa8ougYfbunlZV2z+NH36Fqwt718k3GjEOxvqx2kAaoUM5oBSQnhnGgBzj2n9hYcZUzdz3Y6i/Zbamcoo56NcNf1uTQJDbp2Rjj5LArJ8hwetNzqUSUeO+7rXSAscSrYRzuHtyuSFuXjmvJkzvOqzjICLFBRrgVpDAP0rXFBshkawJ2JOR1SzkguMyjth/NClLqKsxQxmC4RPG8mNLy9Icq2DlJdo1w2PJCEz4wE4bOy/iMm1dn918B2/JYI+vQO/tO9VDPwkvbuWIWYgWgAIKmnZRQQMNn76PMsKhenDn551Cm7ylGPIzrPnihlUoy16crulOkeOwxMDKnbrgjjbvrXNVACWLHusADLi0dxorqgIxzghc7WYQfhfxq6eMw5T6JoSI2lO2alGSZJUCG47QXXHpg6jngpS+yL9KyA68a17q9eZaEU72AKvzPzpUecBRsObDNOIJFlnnBRA+KBmr4Dbp6L8QFTYAtfux9LjFPCp4R1VZFVhctY7DWyo/61pRgSSNeqIjJfSrUBFWXzi4vaaucfZHITBMebSmSm041Zwtf6fvxPF28U25LPvaAhlVhigC/w7Vdv6fu+pvooaR8FpMRj8Z/SjPejRf3nsBvPLR8o/RVhlvYy58L4n7D5uQ+tnC9B+O7Ykl5QDLOXeaWVsXsN2FOt8Yvv4gITpuW2wzqy4+lK2gR4nEOCdf27qjzGcxamxJpTGBMTudjl3Zz6aTrBPPoJQ9VkKulTMBFjuftbiTPB6/bSRQtjMpTcZn6mwZSCDCqChQSyCpkWo6fknCpFd6NISd5vC1qFdDvgIRZyjfHaacnsXdt4WgXoFv40zq347ZYP8y0wf2bL9QK0kkxwy7q05enBW8/miBqSfEIlwQCW8ufgMAGtYp0LreLHkNQMRs/+3zdw4Lh41fagkrP2plqzv0bPhXxVuyr8daoUgcSlcLHrLvV33iGw5ry/g29VSUgw+LALxbDSjtgcKp2UeEnsUExpRkNeH4Zeh33ZX+s5uIELZ1lD5oJZhS/ZPH5th8eYkEhC7vBVyKXdkKTlcamxc8K8sPyhg7Dw1HxcKTI8dIFGk9rF+BZvjmHyVTfXJJENZY2TaLSGlBBCep5BNnJGcYt6UbWaVNMwxO7bEjeCnvL75beR4okhVF2wISFPtO31UczCNVzCIy8G3ww6GUAUUOTEQJMLUwhIIZdkecGZriIxyNH+TzPbijxBPvL8TmnYSg5Wv1GonB96ltmc/P/UCLM5DrS2A9U6QgmiYJaJzpzlN+gLBpzAq2pCiBkhRqDXolRBp4HDsPCiSsDWOyqHhC5G/gTp0MwZ6FFvAEh0l7vC/YZQfDVxbpkrAhC3ZQhXBNPqt+OPwDIlBDskkCeevlLR9itlJnwlb1jhwkMhysJ3pACa11uF7ggL20dSvl/4gasxryW2uCo8uUtgJ4L6uCXv76GkUtlu7B6QlO8+nrRZgSFeOhle/sChPbfllI6WOBFFRbfFYN2aBoMGGuEgwjGlZpGEOFUSBtB51+As+pLlY+F1R+udGE2n/yGYOhBvCVNHA/0x23I1NZrteN3BFOGsbdcS8lGMkrYy3PH/qyzOXAHDOfb1AARjWLPuvfNOoVVhT/IMgyfJFo+hoZW7G8wYNcDR5w1WlG7NzQjx7pkET+vtyFcPG+1nLsmEGPy06RxcQsW8jBxpf8FBSQOLlNKKXLYFiWU7l1W3V8F3pegwlFRs06ZsDATze/kaRENjEGV2fVZaX0FHpHkfP5svGNEaAs+GEejwsPGFXffvL8MTdn0jQQQCtuyF/YL26vZ4R5ucYSuWsm2+Xd492Zdayu965sakXXxQd+YRPvdoLCZh3uoaNiYu7fw5KHx+3MO1TirujQJv2ycPyjF18hxN8ZbfOoB9p1YetF87QRZ2cIxZlQmsZ+qgenyPUJRlwPzlOr5Q3ex2ggzAW7Qz4kcyI+pS5mm97R7MMaS8Prn75jBhyMw0MJulSuH5qBxDH1iMJF6r3ErTBF/7nb4VAdmi8dnCZ8RrN0uFn5IAZhT+geHHcIQrd5eGAZ8+oI5JtnQ+egKOmzwXNT3m3z3TkRvPzZbaMR3vOi51MH2DXF9BwKp+Rn3WQ215jeuxCNkjmakx0hexfNIn9KCwWT8oeu+sCUQG7cYps3hl9suB1jgL/8db53i7enqUOKRbPQ2fBVqFMpXnPjEdLDvdIp0TMKXt6+vvSI2H9ovR6up6xnohKZ26ywmzcouj3RAIgNQ63dnabjw/cxj+DWtIGOgv7nPEDkSaItV+8pxVE5yF/OXA6lIpN2DpzD/Vr+5ha3hkSIQOwAPs+3livLtSIHkkkjInPtsBIXUh/V7GJuKoYBBipFvJSkCLJw2cD/rLK2SGaRZLiTOYWwS0HT565FhogVVsbQkcacBTsfF5YJOinM8IV6tV9p8HYvq8csv7AhJx/xCIvp8jnqOrWFmaSo0H6CTpfM5wcRvKsaQ4tuNpHSmRHfhceMpINOfBR1vufElrlWfLKPWTJ5quz1dte0tW6JsDfl5BwZHKBisBqdNrjAlpO5TftE62yWx3oo+4VEEguEyCMdYrOMEScl+LLtNHW5839T6kLQzyB9wQmcU5jjnUyY4oyryGYctj1IhnBeBrZ7hImJ7ZwZn910GSXnJOpHQSOT0c6WGkR7ww6Kr2enNGcwWBnaUsNcHGSDbEdeFCn2YVtcVbEx4xxGWtNssy3cn4XjPj/8cOn3KfrIXHFxhturOhvOnrSdEZlBE1PbodhlYPlvFY5ksfwOCLZBd+jCVWGSsJfcvb37Ap7OqHgMvp079/kVxgAFAjZJV1AKi3lvKAov9sty0+UJF9NptiPZiR6ElUdjQAYx0KHdg5NLWZGke2IKFxSCbGTioN30+sCsEDLxoE1YGXNDSEq5tUXdkc10S9zfC8oojpSu6LwtWr5nwb/9ZWNAKEAZ36yeLZS0KPdFzz8yNl/lbuufCMBDFliF02p7yxAnVrjvdC4MPHxWSJ6cA8s42RVwGqVNAM41/WNoLOMLc5y7cRskGzc8w1xFhZnBGGnOvdqbkTxQCJ8m/X9KrKQP8A+4wl9Tp0Ihz6JtvsAB3Yndro0IBvkm+PfU62kr8QxDw2X0tSYy8+R2JkyRwSoDcge+MMLYOV4efEHECjiEjvz3P8ZZmUrAER0+Q4r/o1x5NpQq08LZLZuJiZHkwJ9j3PdcDlvzqwikzzqenIiCf0Kh//woiTXP9wa273hZS9agnsRpJhROv+cp2tfN39YO5N8ndh4dOisqbnptQToYI/1rsP4GXX0AGhDNY66xq1NeCiCgyQKVUt4BMdh+IoY3j5ZAKC+bE3PKcoZjMeqVA6TAmf8JgizzibyLjxDL0D8SAeiUfzmq62zgTj4wVnkLn9CEgQEuwBrxPpn6SeLKrDS9wpkfs91wYEqIoGDkR7KFzdRyMRZ6kyvXTkMSIW/bvsXoD1BGPC5EMkuqk9cb+5vzyKprk+I1ZT/M5BhyZVTPTJlm2/zIP6dNLTpZDIqK7WLlDEhMvQbYbXRt0zt2LD74WryL8YBNj3iYCbqKLWQblDyZwLa41u43/x0l0r8sR2cqTsjKOmeblbNwBZzVuRcDuwaUwgepln2MynDbMyy4cP0aA/1LTcL9plLTiEU1d6IuojDeUfBH1qyIzv1/DkfkN8MtYx5jiGZV3BMI7Jj4ao90xuq3awHpRnxwJaTtG9trIjszmNWhbRfGasUrlR362tfMqSU3t05GhAybsqt3rKZ/AkOuWQnAOGMRj+EEHkk5JZrhC6HT4wU1U+jZJ6zqw0Zyq0HASh3tcK/uYBD4ZmSVwNZwzS8H1FdopzMgdjCLQZLLMQ8RC5+dtIUpNXNFuM23nbecrdGP7dqpHYrBXAeyiXTPNKoYuBl+LQr0V/8MD3c9uyIo0Q+UHWFPapQDhBJwPAYME6HO7DwvX27oBuztTL+1Rs3VfN9KS3i41ioJTDWpwdfMv8Z12Ai4xPbGUcetCrDDY9srch7MUhhYdi2HCp+2li9OnVQcbetlnSYG9imBg713tbD7JLjnBLYuNZLeEElvU5QRS8p/x4BBdDmnE6UL/MJyz/hZ8kTUq3cTF0xQuUb493VnsIMLKmtlHUX28nmR4at/yAuziJHQLTCc24nL4IUc0/t6ojr1f4K1M7nXmfZ/HrtJON3mBSQCv9PoFSQGv6u1ARYFgNG9EXBPCXRad3YfkFxExJRZXK5ZqHJ15E/kbxF/sjxvnMPbAim92ebp0h4rPRQcNwih0lvA4h4KZEvWu1cAfRBh3oPO4ITIDAYKWJ2LPDrOK+ElfizqODV9Rs3BZGjyD61uXpoOwHE17njJeFW4HEw83+p0qRLY7x8eow4UjVxr55z3LYJ6WCXB+Froda95eLpMCJ7Tc9NVH2s0i1imM9eegk9Kok/gSKMc5jqei20vHveY9CNm6WcvoN+hJbiXHXA+CxtmgG7zyCTZn4GTfew3CB/uD2u9NESkQBZFBE43zgwd5SIesT0/p9vwwlA4tY52zpEf/Io7WMvywvpPeEe91AvKAsBvJbUWhG1Lsxo88ZzKxGskWVUH0X0ovHmJ1Sd7cw2caFthQWsMoegNx4rU4bD3h73ou9YHazedc7a0f6IdCOJvqJzsGBe0BsIee4r/t5p9OvCU3DXdNha3T4d2OxUJfleULzFLypefek8QkKKXM+zv3DgEZg+ZDl+WUJBtD1WoV/or3kVdEOLh2yob1i91of65oLOdw5HMwhvaDGyiXpacxnVKRdUFWETuHqObE1SpysW7qkrahil+ZHP3oKPcv88gMXyI2FdYGLjdRD/tesZC1RTsB7WlD0peGpgty+lcwHsQk3Qgxmq44ijwnCk0Qp7MlSHXBxV9TDks98pSOvtp6wa7nJIbo1WcXJd+IsfAUCbzv6pqDlegOCqm3S1+dk0jfaXBSpP/sszeHdlCyFU4pD4y6fipQsNONe9cIcpsIhyr9je6rEM6pnWO/14G+A/EdPvGRllmzur5vvA4VSYKGWeS2Iki7EuX5SpJi1j5Nb9spOv/fUARuI9xdWQUuLxUaKuJoZaZjd2oRsVOuwnqvQ5k3O5hFdV0IKmhPONcUHm8KPI+x6aqSKPkrfD0o9mZC/kNVPa78DQ6Wt+iOiwdZO5AC/SSX4RziRwZUpvUC7J5uRtPU1zfW6j30GnldA4pySrnjWSkNhiVIPfZ7ExvtvqEheZcvZMgh1yd+43IhvDNiVFOPvBkgytkL4zsUARrMgdknqErq7X0j1kwAfvzIXBe/Q1wne+O9M/c5fmbLPkSO6GG8E2PfzTyndRuEL+2YiSEukUYo6zF40aijDOidknquzi9FrIrbOq2v7CNKpaNVXnimFrk0FPV9FT4e3WfUl80pUiEj+2bTibn4ZRyloGWRIGqUiNrx6P9vwEmpFsT3cxqFUA46pkaQFalwjx1bmhZcOszlz1k2mpWQiuyBW3ZyTCQcrEoEhzcQraichRsvHD5ST43He6pXQr1NkdSfidyJYsZhqA6NH8JNN5mevGmIPM7b+lxNQPxyYsm6SCpr7e80k/sNpoq/UrMtu3tHd4aFy7K+8Gif9wVEfVF2HcfNg09BV+LMD15JZ1eS2lQ2+wgBN3op/oCVT2tCL9/lWjjK1SpGA2Vt21cjgNyVuMai/r7jhWsWJWTLgOSHBg0rUy155grHH0YgpyLVMpyvnkkDf1mHCsfzZl4Tdw3cO3g4g0rDRWhGbXEbjp3O/gFFPBMRuiAZ9K6m10A7vDqMHwGZa/gGlZtTVJ2QS2X6Yo/fWbw5K+BSkRLjMmHgzMKn1vq5IZfXp9unPWvFvcwGqVySKmeO7s/CIHfAuFnKBwb7g+FkwTuaSFo0QIvjMQaJgI2nIULgTY39hKJVSm38Zg91RJHvtYb6FARpgeNbgyBWoEeE+A8+PUedV9aZH9n+OY1bLWqIm5xmCmReRwYU/6R1gfNCvTjN8ClBHO3kq/YqGcA8VRIKTkMbutN6OdMCfs7RxsrdndUlDxiJcTO68CHOj43+niblgiHuYe8xQaK6SUNB8PMvYmJ0bCrjQt7l4DWRHZ2FCJOSElmyUlEkWUNV9XIwT8nS6H/+XPyqXr4MQfhgnPPW2Gcvrc+2prQH0uJjeFrEK3cTesG6yPz97lk6rnHozxFxBBmVKQyGxaK6qQ2B0XNXvgiqj1NiovDMJpLfu0d6BmStYnhMZF54avnpNhAddDDVVJ3rYHnVHL/C/CLLAopFaKwheMrHm4/5iAeu4frc3siGlEpUfnWn27jQntuC2XnLOzAQyHoep9k1842MLzhTPyL1HUnFpgpDTQ3LHTh+T+qrcyIUKwhVM79uZidq3EMZi1f4r2xxxwA7luQLeSGQvIK4KowY5yW87WcgJEJXDHLd5DGKJP1uUHL4VeMfnE1jctKFUGdWraWi4WzHiXy2Z/yonAc/3KvORwDrxrHups8UrEkvCVDjYhHZmyIYAQWxI+Fk0MpKmE5dY6Nxegogk5e6F5MjZPkrH4/C5SOWCKW4pILmG8ouRpbOadsusinjMtiSY7F7mvdCmgLaAFObrhrZZ1k6nWXPKETnRQSUWGkJ8mZ5qLskFOGnFSRdJt86bFIhKDCz6fcbGpRs1raWJmwiX5YtXkIag3l4jnij1kzV0AHCdfgiVv8OD1KZjbyov8uoBXd2Pn3u2QRZQ9QedoDyX5Kux6e6IcysShTYNDUCKrQGSe3W07X5g2Mkx7I6SvbhG1+yfO7orBdyV90xm6p8bw8vUpY8mNMmaNARImLZ1QKVvcuF832iTuiLObRjzExCIj0U/xKsYZc8CmCO3yEgQ0SckZHioMuaCdZpVby2v+KB6aSpRf44ddYWMDOzS5z8kCuF+DZO4rJSLLN2j8qvbOg1ymX1v6vds04eGiigG9u4i9RIOef5xTWB36GGahEmRDU4y2QiWPzhgPVArxaNkAK1PmeBiYNicmcm62C/05nhTtOEpeeD9dq+f6S5vA4JP6gmoCy1YAfgeN522NTs+KmByWdwk6x+I74zTSnlBhPQthmYpGIznPSlYTwAsL4nLqJSWOAU2tlszbIBwbScOaDuckXMpvvC0fJvkyhtWNSOyHvSoNtn+ugF8gVtxnlZS2z/OvgWTb2QfiRwynK9fo97LYBQHKkx7o6R7yygEUjrfnjTZvPok8bOP9XBZDk7uMUKqwA8C+LCV3+yeRMpkSU4urZ+yEzt+CifR5gpOvrhxs0S78Z37xzKhdIBmbVuYN0OTlVZCkxDnprIeTzLsHmAO/jrNX6vcDvytn/xPkSOfowpdd7KH86vDnvaeyrKUQMZKakghlaRLqJYG+soIvf9P2fD8ksoHBVFDMJQK/Y17SXOjQ3aj0xC3pURW/yqsZ4tciuNv1Rc53Nk54UsArZbzX9aDGs24db7TXASmlqT+nmwbl1APkRGmmKmSr3n+tMZIWzLViHzcti18KIgY0UGnEEfAVdFKEk2CxpB2mFXqgQORABm3Nz0s2ZEpSQZAHmZC5yOSQUv2/NqpiYudqJPbzAC0LYJuQZ+5Sdi2AuO6H17FNIFywACd3cFTq7smVA3fVG6srn2hdGYesiw1RzyZWLY0azNvmeBCGbQrdIYM7lJ4dXzJtb6tCgP1GLYtxY5RjyJsAd4gNxjwmSdO2kYN/9NwNVSvGYxbJpwX5BakGboldzRGiU7XcW5sB1cztKWEeCRd65QAds3GjzdN7G+suqeJXFFCurjjKauvrNdQJO/FQ7EKwkbrlfV1bxlRD/DMM11DWVWMuZcs5tgWRcDrh67LBbdWzjJCjCMvsDm8huWafWCV6yBaYTM5LAGAQ9Et2lDupC93xWyAeWQXHjYPqw7uyOFJ4n0Iucn1lzd5n7Eboko6LBTREgF52U3090c0Hwx+yKjAKbHV8ozYfhLb+z60Tg2B9NfCEPcgqDdPNGSIdfMS90H+2PG5IDhq8V8Hd824hhscMNmTgiSVen70ARk0vCaaIoQzCVIcki5pHyc6411EHODS7N5tNg+82HRPhaG0hEUcEJOya4rmzKku2EjC6EveKCBDDARSKC2/K5Jp470a5YogQ1ygUL6srhXaHEPVzAtd1aJYBt11uN7aHuRIsYsEwUbFTxUUGokq24VcbV6vPVskj/dxJ+BfGCRC+poHiVvXv9BqfSdq5DdS/lxoJRdQL9xUeqe9PtMxsamZS5oxtCxmQgnJ3dErwhwHd3g34+218Bzn7ItDhbAfmYxRgjRJg76V4hYSS7jiW1DPAOtAQIE36ZL6R9rAlmyMCtonMqeTwJ/Fyacb6a3PoSBoPsSTN0KbQ/nza7SD8taH65s8jlNevXBEV5n1Yy0c9VPTqJC51IMJPZPTmW+AK27HTBiEEwhShB2m2pqVJc7p2QOGVaBTbUgaaKWQtJr6LzgW7rQiWre932YFqDiYihosmCZ5xIiSo/swoHuQfL4lhS5eR2NzV+ym4iDAM6bKm/B94vyjitsFzrkfCiT6eED8VcKjOVZ6lVlOnj9QS8cqxS84BScFHw04yHx53j96d6W7bPTEJWBiSWjqRpPKebQHSSjsGz/XuliqCS/FZu5HDmR7Z1DOCPqYKNCeh1UhJaBc8Nrx5poaAdJyvpBkuZ3ytsoad7dwtB4Rj/kipnqkBSXY2WHycoGWhS/JuqI2ONHgtHRS3TxrH2L/aDTdKsu0qFApv55Jr1WOA1PWNCmHnTLxSMoO2a6vAbuk9Lau6o6Vm5pJfpn4J0IA0iiQgHkVUpulYZd7y0N94cxCxtVm7IGRMSu2e/RxomjYAlGMsRMwHioSvaF7sn4CMZoN6XAO6u+BPqzL3R1k64azWoZHmkWtxL1z9evGXV3DZctbKbFKoVh8SJNKx1WhewLl97vLA/q9/CanXNODr731/+r/fXBQGQOXg138LZ9bthcsmYfTY9EEs14bzuk1hyH8GbCXJL6BzyHsvnhXbZtm8EU05YSXPX0bqoy3i1Vuja9WKZ34ufUJwZcN6DhW9CYGrvYHUiaJh2KCKiAEIdfL+FnzBSelsGokFctly2XQzxDpBbV9dckGowEBBn3XDr+djuoSATFE3s11iXyzGyp57PrT2kdov2SUZaj4y9eV4tK/R3r/RNRhtlBllfT4b7kroAV+6JU2m3K5YILVYs7xI6+1IrH5pZu2i1iVNhgUlLfD/ZtXsTigX6ITYCY6ffWHP4FdYofgO55dw9vSDWSHAJ7oSZMHc3JU0e0xpv+jfIX7jkHADyuh557DLWuTDitSvk5GG9fqu+dFezqIhKf0mpJB1OcDOGoSWWhB0onbT6HYXJHgq2EoLsvKzHz1at2X2UhYUjkbDEjNMixGNe+ffMtWVuldq4GagRb8JNZRjlcO21gtTg3aVxuFArFYGN9YS53S69gPoA/DDjMsQLFKQZM26eB25rExKb9wvpwCeX08cdv+CMZIPK3LNGhiAicX8kM0Et/HKedGGNDmelrdl7uJucotQoa+Iv77J9LXPY9y78A8x7S2sWJO9YYepI+YwHcWM1Uas89T7hocHWOJ6BoCeI29o6tmU5yZGt4y/7yUBJUQlVwTyVSXYK4RZAuG7+15oTH4LLpVxlK9Z7glFyGjSHMfvOCSxwmDz7asZis8rXTRImCJZarqXneL3hFR7jv/Wx5eOPBBAz2fJbYKceTktZKAYvZPjw/W6YJN+vuk02yGrs5pASRy0Ii/fOugFhBXcjiiB5GzYDlmTBUCEvr0goBwgMulAXluVwqF2Ekd63Io9bBJxL5DkAZjMPNpgWbhGWO9O3WOx9G/BcTiKA3c9ZoqT9EwNereV9PxAl8hQhj5K0O0NUm0TdzChsvrbZyfvh1s7DbLNn5mI/KjONt1dYpZ7rmCnQzAu6xROEto+UPUW4ysOlXqpzivDhhc27ghTniQ6seW+nevkOEfl1h61eFxFhr3R7EvPblIqZDJQVqVL6NLdU5G0i0Kq5fCkADpJOYypninN7SYVV37n6HDGjjnRtssIWU64LeM+OXPf+Bn4MZquVMt23xWY9jz7IbFzpGsAH/jbDlZ1yBWgQJ6GBfTdCFsNNsIRDQ1uNXyo7Pl2i0D2BRoSmLVWyNAREhUb4EHU23gq88Fv7Xfxaq4T7IW2yT2XuFf111hkxhLHUHsJLjg91bxIllK1xN3P8gibCqh88Zj3Vs8C8OcrknxK+8JrrEyICe8HVYjfDNNV4eZ+16f9PYo4zHT7k+HK7S4WCjz+gJG5zY2ECOi7GKiR51pKqpqMcS+Zq9+J0KPD/55BySqH7+LAaCffIG0VtZ7yD0qAebcjJzXMkbcIAwyC/XzpPydf3FWSi1Sf5SVEqZFzQngPzB5um3p5z3iCaYhyBw8YrsAAW6gG7Jz0S9UYFnYOL7LonDZlykcHTGmcj3FTiZv+JCW9CvkMVZsmQmdblpJkC2iwYnK1hD8S1gdlHySzHMAZgEHlMV03C8tlTN0ALeS9urnBn7V9fCSAUapr0NyNNsm7L5PwNSxhD7Cr1DeOMFFQLzZEwmV1UZOzx2GUXy3DD7VDKat5HlAhbfXMgykXOUhKbrz0bDWGhpaDR3zeZPPxga3bjEPUJOCJizOH6U+ozcej62bqjhAQ84guVbVGNwFMrcy6nQkXrrRAKxN5OsHQWpXLS8+PA0Hj67nfQydO+frcvZ9R5hdYG4+nk0Ofg1cX3dAl+UTtQbdcqY2aiaUhWEEtgLwV/Dg4gicdyS7eSNS9HY3o4lr81UsJgbgFlquJAaF1T0yG4iSQl2F71eM1qFVMehlqizy0JJu6iZ3siZ1MH3AuBlmM3DZ2WipuJB1LYJBVXuCmrAbnIhbXJpjeUC4Pn1p5HxmaW7YgXsh66Uav5hSRf+ABOKXKmi+zovGKUcqwJb/Iy/VW3LGUdawdK85rg5+GEbc8x7ZxR1bnjaUnn6j01BPWdBFleWa3fUOY9S5BiaRGWjxaHErVGfzq7xI2CJY8OTs3mKQeeWfdhxprRn4WzV5Sxyg/Wm5saWnB9GIaeDMD1TjX0yXa8nko2755RweUygbUA5t5PkziH3l9ZuYrqkxgcXZwztxz2PalM7bvTmdH0XMNvHthdCZEVlhoClXIhwUQjcwB2FEUAycaGj+KEsCvWPs0plp9tKoaE7+WMTwAomnhub/R/aNhPEhPlGVuYL07HE8c6sXiGPmUNWRX5lAH3+tn4n7Q3rCeroxnV6yKkOOtHXtxTf9gyzdnLpfz4M2TYtvw+ukeav8FtwUvVXUD1KP6D7Z+GYDE91NV7HBGAlu45YJMuuzKeneh6WAskATBAj+z24aYchWYw/vEzEDGKIsoKjBukzkI6+00/ZjEeXjn1uKFo7T9XjyVIBNkvFS1mxi6mtK6Sev4dmVzF0VNIG66Kti329Q7C1FnzREMXy0FCmUT3IXl5AyCawFZ8MI2ig5hvtIAiefuCWSjCmaZxooEC1hWDmwP+nzouczWO06eoYb8XOih3ZmPj3QDGSyOrSOxW5qz129raMoQADKidWuApfMzBkP+GBzJzMTVueXrD+wbLfrFPSGTHdh3Rj4nP/nonLvIovDwFF+89WuWMhqlR1r6RpJ6y3QBGXGwR2XBh/aMG8A5ycZpYrpLoEHWL+fGUQg3ptacjnzp/CR3+dNsImiGscUziKzJqgtkwX5xBEysBc2thSjYA/6M44q221oJin6UeYxn6AqejQ4uAcZ3lvEfQsO/kkxWQdkVXQb9SA+pC2mYBJiHvjXInTAjCRBvva2dtu3bm0MyHs5SSOPRxOx5kk6p58MMFfXVSkV64xsecl4PB2yVLrtiMEaIHYe3h3pPTrYwlTDtKVJAVgiWApL08cccBdbXdFECVddaqVSI6zxHeGttsfJ+P/fr5EQUBfs6qQKa+EFTclf3+qnkwm5RQpYagC/Y0MdPLPE/PyrUz2hg7J3vxFNIn06Phau6/XxuUvB9CVbyEA/K0Z8zRv9w3vKux/RxyOC0YIOT2NFQgTSoq9PhCxyKpNrkeMm7XP6Piw5HBoA9iIM/DBokOe+HYQ/mOqUvUcfrLWycyTDH4h2rzRwaigA7o+FppEAI6v2kG/QJfbU4mpO9HVwaO+1dwnIDl4gwXeGbD3PjROAuMj/dJxRlK6wC/+C8lEyXTkMQT5dmt7YiOS6Cg378n6zqgebF8aweukvzXMCBIVmnGiuRKzx7ECiHq9hdpsPsHDpnu7bj+18OAxIrUnCnW/sUPW5DWxIJ+JIFUE+Ue+A1x+sJWi7fX/uYQbYzhxVX3anzaK6RGVKYVhtd72Z3owDB5Li3mrfqKv6zw+zBx/UkbLV4K79jOJ5DmRAIje41OVRye6HdPU0GyM2aO+RkpN1DoblxWluIMeXkQ0WNoEM0GzcjQgGpdLoxVgZxE1FsbBMaeVmHaL+1PBwVxvFiH3UcCJ1kO7axX4bCmiY3Zox6Tspk7yzTxzCGHO3C2XBogcCi9hGkjcu2aEYur9JZiNQ5NpyNjBarxs5hpWWWke/5WRjEks07ztt0BGHg20fzIeJoTabMxZodM9a9UJZs8pMmx4FoUj9LeQO5MDCTeZuN93xH//uHh4vThAJzHufDBl+rw9Yvq/kk37gQz8WpJ92RxcvqTLPEiF2fMloi5v/l5p+Ox8qb+sifro5lBj4iTYmAXhWF/PInLRzyt4/VfKEkLt4wLINeqcCUjPkREkC5n4D0ME3rkB0wSmAZGjVagCUTDrnTfBzZTDamie0SYrMeFC6dzqzSfHz3ecbINRUXxFYFuiLAp+awCtjV67gAg8t8CtXoz3AFbjiylub9rmnDNs/QBSVBDmdkB1kQHjd+A44vSx02HjjkVw6xceRJfA4oBWk5/4LCGwqWg9tg0wVZpC7W6vkZ7pIaoqLiyNhUEatKmdwb+v7qc1L9zT2L4c1m8wdX4CHV0/m9IlJH0hCW0Kc0HVMW5QmP1isDGlUpuXT24nhBG2hWSkGaPGeAvPxI2kkMG12ilZQIYSaMQYTJQOIqdqB7GcMNRIApp1KrHtu/cXuJEqoXBYfRjT4ClUn9WJGsVLoZRCT8425FQ0bbhVuR0bIsLG1APX5IKZCqDqdkUjLI5AXcAhnGC/qpye5II8hYoHFFv4LHPRFBuG1NBSIdD/NZYdayGFwCwKaA22HZCys6EnxiYh93fIs44vNWwVaWVbvFgzO1+QAcFVfyYMWp+ajSLwQp/FoFjDn3Iiq6Cc8AmF03BEI2yunGccWaF6q7VntYcv0hOJKzQLPjfBMUSgHWLNEsHc9dZccdmh1ubolztr2XOfh+/WnL56NXOyHzQdHxvYeGjCHASBVUZOhWDFOLuRv+GLoAECUx0kj2Px+wBu4SNIWmag56d6YnGI+zYayF2M1O+Kr9LQdwj022dwfy91vAUIrC+60ilbXk3+DxRlVUtwhpR9qSEsJNmiYetr708ewQUha6GMLtprXOxY3q7a/NXSFctXY/YeHbIJsMxOh753dcEjVvJZ0h+Rwef1HYWHZyH8BUPfjKdaGolSznChUYxAwZjHLTwz0PVhrx7b8iKUg7jndzOPijOwRUuiKobUPz3ZO57pnjiGOvSfPQGry7tQCLbyKjrVuJSoMQYKYzXEM6iESfBlTPPBLyMeczIKN0tHiS26TwVhO5F8UWFRIbfPgjC0YYIF9PmVYRhuWr54TeUqq9GnRYU3l+5Dw+jJfg5OgJLYQiYMobRKl2ha7EWFQ5sRMGYINWLf65zrzKxHIZ6WwyA2tyICfsNuZbMVGFi6Dj0PNN7jjOW88hfAkOmXgTAViztxWneqmG6bF5uFr46MzwbZIaDwjKSwUQL/mXVSkzuxdsfqpc+zP9H+Uxs+AwRuyWL/RNk6A5psSWxxD3tLTQcozQ8YS5Lwh5/Pgca9MsEj7Zcfa/CjnJTbLBeRogrTglFaJLyA9VzxmFGlpR0QCkmqvcfvuafa645XN76bUYj9pnGVeAfdQsOnoSwlCbjz0lhMbjxldb/EZp1F/q7DY8QUtl8bn73eCmlydyPsrWrzOqTNWPN2OQlzT+YiVOeq3K//i4KKGkWkAPkVG2yEll+waZCYwkDmBVEXFsKy/olqcme/KKkbEiJch7i4rY9rBfWSGpCCcnlm9gUAj6/1ZHq4mkDSeGh6oCSfiqojIvecdE94Ilh2ql11M7aoVqKciEw9U/783G+1JpoLpCxlo1RY/cki44TsZWqklf4piZ6F3x0dnfG9s75kCzrKWzHmXPV5+YbnArr0qSA4uxA9tMr0jvt4p2UM6Y/WPBxA3lCCTb5c82mTxrfv+JkF0CgseeX5dtSiRcbJPS29HbNqcWbozETOKDmv/V5Fkn7FBUSoDtzFFk/RXgkhh8CXUV1bejeEY6dG/CvYcJAYIcXN030Hkr5HIONbC1tcRB8S7GBjH8FCUEOKgzxX74awrxUvvz0ulTVMRy5nMFthabEGKI3M+Tg5KLmZYDa2cbmvONHpKqCya7MFLBsLqivw6B08yEzwrT8f6QI5kjxS4dFhJsjIme5vyy8ClmUBex0N3nAbVgGGQu8yicyeklXZ9fbYIdhzCSCZOCHcwLQ7gOjQ5A/R6bc1IaOL15xAY7IlqoSGGjFAah/UhMlGw2cuo6/ISLN2GPg5jSUUKJ3ITAmDPaPiCHG8HPNsB3uvwerf9y2tXesSv5w1Pc4ZmFZ3Dc0likyUEqLUBSniw5uIlcOGYFztUrJCRgngi+nV+Aiugd9N5wpGDVK4GncCxAJJ41GjbFaaJ+Sg3oYii/FK5lD0Nz7c4gN9PY1kauQS12n73L9rP1PZTKEMxTx1w33Nau/uwxO3YrVskqvrz67ib8DTDQCf2irEcSjbr6Tz94lAqa72DPKpQRqtGhLu1ZI8IvNkwPHwPJUe1jk2TY8+X+axttLEIfMW7vGnDOf0Wlyy6+6QpxKmfby06GVGqf06/vgqd8guhUKnL1TztXhK6ixN5RqdlYnIHjpWMuiv5rqmSdgADY45MEB7wtdJLQW+3Cqkvqko5rce+e85tSCiYfX9zWbO5QR4gMimMUbssFPRQWra1LbMIVLf9/YRvQVwfln3ZTqW/lIJMXZjpqhDOlvDjQ/VRiUSo1vra/+6zBtmE1M8ujCkW/k2UrMK8M6Cr6Hjxh7PG7s8o2s6DiVIrksJ9JIpq3RI4Zu+W+Jkr1yeRBWeXneXaM4xuSPYDvFgHGk8DCY5CEAsc//tdF3FIv5kfbrg+3jd8oZFMqf8xfYDyGylQxB25G5iG3zF+J1HDM/dr5xp8pr5frLE1cLkrH00loTFhG3sNdC0sheLREBQ5HkgOP4CZtfR5vatV1Ctv50FJAewxEI4ImgRn8YnQRegytf1I/EzKTYM+iLGXUPC0YfMoLuM0Ld7cxCTmBC+ewEWhXYgWyCFcO0jlynK1K/KO6wq/U14fHX+12vCvoExGTzeZfZO/Z639o8D178W7SAk9eiybINTHUq2c+0DJnJx6o1avl2Wug9it1x2ZyVZCGHQ90aHfJPekNI/qpY9WxtU6hEzwWc5H3obAOVelqfZl5hFEP0hejEENQXBEwWHu5E+N5quRpw+Vs/HEEqoP/aMtM5aiEkJgcnhLUwGtLmmKUCWGd2RsbOGM4XFTA2AoYKn94vQrxbperemB42hw7lCWuqc+SgoTYu7+1AeYsURKMTQM6G7yW3FhV7d/MQ0SNvFaOiVjzUWR7jvg8fvcJQRp/3XtaENjIZlBLhCxAonSmWT8927kfmpcKmQVJbnTR6xs9b1ck6LtuqEEm8Fez8S1WwWUYHkGRcEC3aySiOSklW1P8iB7l8Dg0Qi9TLBaAi8TNhvLTt7dw2MpoBQ4HmjBiQHdvQs+qjzAgOBqmqnMnCEGB4p22jWCg+evn04VehH/Av+h+nHOIBzDr2LZKzQGrnyc/M2PEdzTjp/x8jCrj/oATwTFDln+umeiIhbN5JQSDW5JdnUmZOFtMANtuveDDETRlF0WU+DtHCJnTiIm4zt70yz219R+Z6zfZlB8hSLVcLWSLCmzprhMIZ+i0vO2w+gYM/xpFMSHdX42hsP1aOEEO4YfxN5tXpwowG7CF/3MjjanJJi7/5Y2CiTCIGd4C6Jmdaip11QTz3MAyBz87n2x/kLNXNZE61oU+mwR+DNkvwajSCmPLzEJ90HGRpdjuXYCb4CzAFHi+JkVoMziMvJqEemKgEoLk83lA63QuQg5ZJGpVicCeNqVf4AdUfyMig+pP3DQK07uXhrvONdyxlfco8rwxEwJ2r2kjk0oxglYcWAh+p/zdqNGnSHT4aXk6H3QYEqEBK4NokIJCONFOajtu9vQkl7isiI8SuHADSw40dF/9GOXWhstd5n0WgHup4Fs0M3CSiF0Cl0BnRYsOERWmja/rpWS95kvKz3RcOEwp8FhzWX5w6OzWciXAo/XqSce9DmkVxyOM/hh43svQN0zHP3FI+5r+Bsw1sD4JbYGt175/UnjcGRjFKCnNM8XJCn3tLwarWBPDkAb8NxlvOoKp+0GqMh2JH0So/FsS0fpIW/w1xXX2Z6QGtzPlhCz29Qte8T9PFycAkdLp1hjCeRHgbXDlTKPX6PtoEFzwaNCrIbEO89cPkw0YQ3J3PPAkuMNrGdoEIxQdwxN4pdC6nCUBAZ4rHiO/hrl4qn/6ZQm4AfU9TSxhcR3Zt7gt4h9CD53QUzEHXzveh9kMLsLsmWV9wR+DTgH8h26WcNC5L13W1KWyV5+s4Sicfcj2IBb7xxSDkxkke2WOYfDpetgNGgUN6xpsVqSxfsiKJMZGuQiSQYiDSLoIajPkmuP0tMmf1k5QZLj1JbMJkgH5hkb/EVJv82DQxc54uOw5xIkxKHQbs8GKZe31mkiYfHOfzCb+lxoksqJBLGV5qEMDa5jvyvl9eKEy4IEzbdYDJmka6GejH30sF98R3hteUWhfK0iWJly4FIjbon5aJhGKQpZcJbhaFiqetpiwpJIZHG0JTBoecQ6sIiZEzPocHrMakrEAJ2LkXOtVEIFlerMxGNi1Z+jwwp3H7NAX1rND/o4VeaT3glqBp32Q8T8dJXqCu1Ov4hF4yuSiYTkwOIGtO4mHQFcErcpym8J/QHueGIihrH6LB8utStERMHvuvmanO6PhQF+hLQljetLmqCybsCoqhNOKKYXXYtNNFSKo+lgOhwFRrWnjYtklyIIqkxEUj9fgD+dQoyneFUYyZu09an7xrgcU6ihYDxDp1mwKmT3GoaowZXjsHGujGmnUnr7EKNU1OpHkYJgIbbz/NP6QV+5QvLdTZuArNQEBmQDUeI1VZbRvfduR86A7s2xSVHufj776VCN3d9V6ro8STIGTE1iYIKoq4vtSIocte7c5LvwWQXHjUBItGeYstLypKBKWeD4UCB7cM6VwihyqjJSAMvVV+zfNXsXeXBbMHbPwRwLPCF8TKKETNxNcOS3P90j2MPjxDKViqUGeHcvdlAsCb/33YY8TS9hLrhJUBFAqNqimmASS/FoD/qBDSjZl8R1YVsqNW65jw6+s7GqmRvYraKK9w0BCgFN+IUusZnUjdxd/AjnwlhhuSr/VkgFV+hvaLyNggKfCY3AiF6+jYwxn+qSidijNqAjcRWxHmhfw5+hSqWAnBY+LlwU0EQxtChhrqNyORRIkOut4KlE9Lczxy5agMbm5GwjbMXUUgOJjt4cfiKMQzqsuxCEmAZWQDbVDh1E9jd7KmHaf8ljU+5h6/bBmvdvvS/TB400ANxzA3+NJ8tfdvFHr7QGTG3hKwV0ccrRRj594E5lXXTU4sRaDwfZ4kHBJpyatS/u0lToIHVILabfjyNyGdHjBz3YP1UjDUK+u0bgylzshsYFoA21WAz1jiLXN7NqpajMVKeKmvg4uyt5QtunwdpHy72MYAvYGO996m7ctKcVEGtvJMK5DEq/xEoIlGuGvzVwetlEc7FvlufTmmnml7MaVTJ9XD/BUWcMU1QKxAwm+U6nipQYbek5zy30tHjCxHZ29ms/LEcI9VCzJ7+Y6eJ13Xm3C3VVHN7Hsw9xfL6gYNlpB274ySJR2KeK8GsXaD4JtdQC1BemiFyXZHrb8ajx52w1DpfqJnaquFYjvkAzoahQCF7MyfNVeFEYvqFOCpgztiODN3q20DJWkmTl60usQLhw3QfZDGnAkyNGqBF+q4tWJnNZqLyTQ2Ip5heCv24x4C++jhDCMOxnXaW4d/FaMwBKHfq8Dfq+O/5mMemYRXEponubJxQVMDZgnNurcs36QprooNVQm0Ahe1bwnVPbKtRLAgGIcGcR53rvctKWxEp1gDH2dXTPpqEmHqPuZQMtvTFA7J5rlzEm83uVnOUPQ5GiSjlk2FrTs0mP3lz/b28PeOpyLGwCvfWA6OCXUKkTc4gHcrAneRCe/8qYKIhphOmJC9QdXs1ogwQgXiDQu+vy7978Gi8d07xXaYDrjD8noHUjxW5YSXDt6xtx2F0g+ibWw0ZQdQ5NZ6uxU0aLE0zZvJecTOaKYDBsU9/wM1yJoLxF2WoFCrBzUavZu9mLgAKTYJrUsGNFrnklFZUCvy3EZ37Xy/TC+PWDrXWbo6SBYHnWuXDFJtnr6DjtS9PcwEJkebDoIA/AWleBB84w+8LpvVT48hLJZasbFKw6dUOImps62FFXOcKdr3Wlk4Jk+D+va6udTGEJU/TKlwameeYMSVFPuPSynxyA9RilLbgQXeDLBbIMrreQIRq6o8Y21V2gtF4QfCnjzGMF0MPULbBoBzLZsSFrvSOD3VXfo5m6DFzw0wkKhqeVGGRtr5ttrl4gvv21Ioo9VQliRD+2Si/MrIRyLXvVFulSoGymm+UNucqO6cpi4YwuZSy7CUqsti7BHHU1h1iGyMTBQnFFSLRJ7uQ7ePD2SJOooX0Qzr2W3TQ4zYISk2dstdv73Svt//6t65FKxOzhlOWtCini3HUGy3936vLnm+U1ba++4bSQow006vTdri6Tfzp+JNeb+juOwUnTOcSqiFGymkuTexnVq2uOKloloiiyhdD/jnuaWktAHdMZRlZsSZped4otv+Nh8CRXLZ6lc87EDhFdtAwUK2K0BT8F2N2H8IIjA/3yWLjeDzOzf7qyIcyXGmYBr8VIw+enRfgPzwv+fsm0P9khgA+woPK7/zYwRZtzES/2M+49zl7u8lBcdxdQRDu64HvAjmIrYkRJsSXelAYtsNnZtmQvjj6+dHbUccfPVmuzqCcUtOKmHNH1FBSlMYGs3ojf+5IbADwrqrOdgeLW/hMj0VZKg9vOq4Dhdv2C5r9nUM01cvVRCoIpuqm6aXB8SpFqd9CkLnY5jYxCZZKmNxlV5V+7tqcizDdrm7ZtFvqtRNk4nZgnA0ch0W8OadvvSDodHmsD4YCu4pEVDqIheg6J9o6IlLqiqMM5hAg+d1aw7cZGmzCQBZ7Q1STI8E8OKe0oSJI6msCHxd1wBXNyXiTJxRuyNhfVaVz5Uh9IrMwBq8YZLZFfk2fhzKQzoXzRgLMwKZ/hLdr9qSkN4y0YtINZ+KQtnyMz99bkPDZ56exaEwAH5WOvZA4o3y7R5Lu1Tr/rWnbIjQsDLE+k1o/Ok7Hg6Afnt15NNiXWS8JSHHQkyMR957+mCa0rRQKeLrm+pClbH5N1qb3C0dgaXvcuzRnrlTs5E2XaL8DLfr62coecIlpUVnhbij1PMztMIjFf8pokk7gMWV2qlkNakyqRrdEY9r7sDP+VoSrb0vcavcDziCfUOdDo3mAGN6g6mo0P6zT3SrmQt+a0pXqqf6QiOOPBKp6gfH5aL20SAQtFsDQiSzbWEam5N2QbIWOCAa5A5gWjMOS4rte1ww7iLDcXcLPnDC/nL+wmiYbqZYeLZdiQHoJUtKJeRBC56G05QeXXhwOXIzyUG46W9DvbQPgucYshqmjVnSmBm2wmmU+Kg1bOi1c5Yf8Z+xuqhkEc3odZVuvq2IrC39hQ/BhOYTy1VOkWpuFBlqtcb/hvX1JCarISsSf834oZPSNP35/CrdkoTUMUmEegGbSBUwDmqn3giSJUUc6bOuZFoarvOAOVSOtC9M7c/KGtWhVOQpxQDHiC+M6iijiyvtVRpdHvZ78l8EyTth2zzKngpN0fBuLTSwD7c9YRLJI5mGQCxXaEq7vUUfS7FCXKY2I27cpjmSDNX41bK1R4mlhhshqTZGmVJ6CasKIPj5Yzb2wweqser9dlTRDQBiyX3UNtfRA4DMsQQ6tsSMSR3n+F1HJYVncaNb2I9t3rnJrM2WXoUNNsEwmIpxM1hyqEQhO9Wt/PLH+gaIdOSNVx1a6iaEGjWyt816eF8k9OvHeIAdP+yP9fNX49mc97nPV/u43e7DLSjR19qdeCaWGMBIouYVq2Aos00/MO85gFC2wApb/HX0M4FA6+Okjl+iki0xUmGVOKPKyy38fYIi6IHWPQjoTfsZ/wNBMXy8dIVRsNnkdckobPe3Y2xTipxZ/ZOrYGobt+sqB1TETmjmqdotkTB9C/BHj0zAs9nTdxmZSID+evdf2K74ecwC9LVdUdY2vtvMtZ7N6B8QyB7va7VoW1BbsnzoX+YdMxg0/SyUE2ImiWYfE5nDaIu6es5EVcoJk73zgf2xOA6PT3DqCH/mFVRkHHWiv6F8lf8wAUMGDfU4LVJRWyi2kUV5M4w5qix0GirHb6D+WyHJjJ7vL2+cTaRctzGKEYPrULdmPUTdxlmpgxgBuZxsVZx1XHvxesJNwAh0lC1g3lzNDj/PwM4+N73zAhGNfCHA9noipE7CJDjRe2mgKUnXRkOSChI1s9lusapUPvdx9o99A+ydMLJWBUuPSV/hti3RNtO/4NfK7WA6C4hS5LJ9xsDQtENajMSowkLqlfFQGq1WNFOeQeEtON5HngNXuoIfLzarF4kZBpgdPyeGZZdfe/waiaefkohkDTFbVIcEbAnmWZYgCTZhUcyum2w8oAH6KHbyqc+2OKedDqTyB/c1KZSKcHph29qY42du//cxTIzr1AN6oc8S/pb7c0Gqn9cvw+7Kat+J0xaHYa8YWG+W5PMiN0koA/A6bFoPT65jUOcA5s8+3lq9A73nEAruP111fBNbc+/ugk2gPf3nByE+5INTCs4LZfI64p5cAx2CB06dGhovOioIVaWOmQMmjwZWo4LztmPzLuoET+xyeoPHT6lxo2mZ0Zt0G1O+2KphsRaQIB5vgpNEEyvw27rvTaQQlfcc1qRmYnIQGH9VDaeSadkuwx/6C0t21ViZWdXYnbWeqQ+L70BCY279XJfCMJRfWGFatiJ6KWbLRdFRb8Cu5RPogC5p+LYm4fjwJa8nOCNeYeD70k+ku8yjiL9qqlW60a0ppFae0iv4sb9di9oi0idIuYX/9LaUEE4KDeedDwBgdQZlhXQH2OhX2+b4QT0xxMLaAztJ+KgJ/7poQNjeLn6YkYJNWBAFQ2rgU9yCZX2dEn6ObtXVp3VR94DmzvkGHmMxR3hJp1lwcXQU4un2Hw3ReJ4TNt1wikqbCT41NDE5b1+sncDEMACxOt2BfeBE8NcwBXqcX4MTXCNQfrufaDLCM3nMep/q3MjZInrvb2RZkmfNKO5rhb8u62IfshIKp+H6sUjRgU9BTA/Z91xAd3AShRbR+Iyo33RQX/Y7uPKMU8TTSu2C40geclgCLVT992UFTDBMoLHKlUFw3NsbUELHPM8//vhuYesRBrEyK1hbCYQ5bxB5kgGByC9suznM+TFFAN6qy+Yhon9SaXJU9lDh8dpiFseFpz+zQNOyooYHII3f9BHonjv5CWy2UGCnml486j6EciIQNszEm4Xd30iaabpBptP+7trJeQsK1W19uZ+5I/HzcRuZqSMADO8OE3hbeDBtP8o6DYJad4En2xpvB/JZUvT1dE+P1J9lYPd5F2RlbvevTBHRLCuT32p20cCHyhN3CwlF/cah/97rQ3G5V4z/4SxzgJ7sf3h6+Q+m+JqoBZ1lxXLT/bgAmxrDmodF8wBtpKnfFJByS8WZq3W/Pp6W6BoWLqaFeVb5d9INV/fLtTyN648IOGI+NmXhogAPgIoeUzg5r37o2RIaSwh2SLwdI/52HOiKNz9C+l7t1+4C7KAsSb97v/QvaSc8wCHEkX+3yvUPNeUY/+jHUo6Z8D8SxROVNEffciOL7IBlp/B2TJGC+swhgGyPJl5ClxlqTxxx49mhF7phz+lDApGu2Thd4H/GPzwdYGUBv6NCWixkiKoxVOELFMAA/zCzNcRb4ecPuEUy/2hEkQDyI8el0GXgJMNaGYLDQIJ+4BsJxBqQ38NS0/aiDsI9/yOKP8i8SVetqUYG7vkotBxhxvamjrnHXDCn4cYMLuEAsS0O+S2m02d9YjzgUC43MC1IKd6+RHhaqPJofJyDReH4YXG5b+Uhvx1cvLvLGvrzb3NHYkmrR5st8osFcXm4r7bkZOx7WGoZYhs+4iaXfTW/LFTQte8bAn/X3TLyphM6fTA8Jy2lpJ8kwY/NiY2ssT1UIIiFmME0TeyU1Ob9bT9LU3j74db91OyDSAa64V4f6RZqmtaTrxwxBFOiK6CttOFepZlrvsSYL20o2sBwCmINevDyc1jskSu3w1BQ6g0RhSzATkwbbtD44zYsqsldEetSY82f++dgl3X6uMmXm9/UeLh3tkR0+xJJ9D9rrM5Rvd1VDSqf+xknR2RLqEfzjZzvR1uDFA8eAYHONP9a+2WoxwhzivigbMAB+sxMjku0gW86CPvKtEfSPrUqgKt23OSUtJmg0BHST4EgZDQi8FNoTRSkiWEkkrHjF+gvxY3m84TxxzFBgdb05cYdTMebf4ZkDw6sj7tt5oY+hLZSYraAUZfQz8JkKsRzJplfdLUvFY2YyH34OsgaOy6fSY8fvthJtoLReLjqWropqjYqC10mtiF2nxUZH0sHhCSlPdiElwK1BheWJ9UmbDF/5d39OtKdbanzefZ6XL9OqTwtcfoQrTZLy/07VDHc4X7Pf8RZjgbeOeeGcY7XZAkAArE74F28gNfQhoANJFqKeu85WgioV9QK7cGol65NvBlJ27ZviJlGbDAxSx8XeFtrAuFj+cFlvXXrtOwzL15w8+6oKcfs7b4EVAWxTVSL+VBQvNR+oVoZWPdocmPdimLRLkGqx84ATrMOd9UUDrwGoWzgabHRi+SMrdr1Jl3N+DujQffty0XmdtGAQlU3j29nj+fNAdK3us3hkcAacNBH3PtjtOHYi6eZT7NDlr+MwbxpajahGzbQOvOH2i9DXSPfQF6SIZVDmspTmBLFYyzfjkZtQ/2m0MGgxFZKetz83BqlxFov1gfb+E9MAag8ua0tLMZzDm6/0/aolgHlJyZhq56cvPh8q94Aq7sT8Cvk2Z84d8UmpFEoIUIehrRUvdJyLTouRlCSwf1OBfCH7EURq78FJ3uVE4g1vEc5DMMYad7J3C2gbIClKfD0QPQtkLBkPuBeR1i8WWKgUCXeD+LiJNsCV1lVWGjqve8yXctisjhOIb6fhaIFYExedO3lWu+pexmVp7HxbDFxrna3sZkQeQseEKkRvFew5emA/vBIN6CRuX9JCtPZpTdpfxDlEvyicrF+35/PBuNYUssDOSU2muBugjqOPo7fIk97/iVEquBegi4A4GkhHZfW+v9TdwCisnXIqrKVPudR20bb4xv0DN0na82VX2rFlk2wNtsesJ5iglp1HdwCRUIuPml8cLgMuy2w7R+gKSVFwTTOu1PkTbuzQApe5fp/aQ0te7Qz+W0SbXnQEqeBPFWVpEAboIyep1vvvN+3Zl25YJrK0UrK/AVh337IrDDhBzqCrW3xbm3/BndoP77enoQbctKpbssneTQTILXjeenNvCy4R9Mi6oYophdiHXdaB04rmLt3wHlfhFA45xqvTKEEHIfPxA1Cg+afpsoKayQK9VTGpwjig2Wupm1gp9IRg49RNL09hzGKIoOQ+AztlgeSK/hfxI5xoM+an0rOuFSV5MD7kMXb3Wd8DfQnzbd8coPucrgXwxrVBkWiW2Ru8W3GJFCYN/bA2QCrfrNwiQ6IzYWtISZeNSvEzlgkL4hUGUR2xUTX6Z7nyCJUx/WdPgTvVx6/Oz/UmyFLaOwCnb0oehQBWIjtpTYI4iDVrjXzrE0o8V5iEdFEdJeBUcIrEIomV3ZGvqREibmt3o3kRwvAk6m6ESyaL6H+EqD4U1hQh6VxLYTvZzupGM1s2QebjDIO5IRdHcKpgYngfBJqFc+UtRlfjRStEZ93s105x6DevM7zYckNRw33njnHZ+gGxTw/1bHWzvIHrfc90ajpbMibBK4hc791Oelv7tgeMZhOXZiLsYrZM+axcVylfgrH1v678A5AxsLBG892+nv1/eW75grIiLBDhuZrN/IjlP+2blxJaOfcKNkhoRlnh6C5FjbJ6O56tIobeK4k74oL+KZBAC1KAWMtiBzmgxYHHA8lPI28vneDF/nBoRctN8WIiNmseNPQyYFbv8xKecXpXVYD1PC9mnWSSU36XuTY58eAJ1rx2oGT6eMYD+1c+r4plG2SsYe0Z+LZmqyXH2UIkwJERH32W7Ti90u8wR3Bh4urA5kbO9dc/aMKGocIW9lFVHFNMes/0njVDxPu6kf3NCrNoD0/zm4SeCAmwiK5TqKZNOVghnGifvgpuz9j1njk4fTSsTUY7O24dDyNNrYVWsm07gmLTLyAoogw1ITmO82Z/tAwJJMKRSSAALSvxOeq0ZzxD5C0cYYSpQf5Tp5sGIbEJDolXf7j47cEkKtIn2aTvcaSn45bdEiNaDAsce5ANlJtQD1TbVmgtSPA+qUr6qdtetOYKs8KQQ/yz/CIHyn0NsB1APe5FIU5TgEiEvZcoRIf7Re4Ls4qcC+iAslM8dmbglK/z9ucxEWbyB5fUyxD19ZplBSGjxulCJpSRCvrrRkEXfriDW6EDHk3tXAgI4W3z8mwL4TIHZERL+pg71DG/R4xlLKlNos8q8f30VaDrx/suxUpNqGoOwtHlWclPNrilwHe2RQr3Yp7AyNCGcb1vCQ81FX14lXqmy4jGlHFR8sGHsq9Je16IRYL3dTbUJY6XpavkUqpN86cPZd2CgjZMpduo3HRzVQTu6Iuqc6PvaYA7iYrRU41KkY2n8jx9gYDRDYYHXSMEWJLxynqO/L3Mb5sZL+TW0kae0lEp4GjIy2dzNogs604j1rd4DdhPK1LtUXRxJBZGaCDvREf+B4GWM6rFtXpBWElf9EQPV1ZtNcHbWiw0Unz2OPLVqfvjno6Yd9tnVEdWQvxWVuefn5c7Je/GjByMg+1AeOpwJ3e4x55LGnm7w/Jh5TVVbAGNDdmLVTkcYkUqu96SUWaeUBXkVCl32Mu3WDmeeqt+57L+w6gSBdW0BaDw4yHrnukzztsh3v9iedjjEWzJfEYiZkyKSeL2NDKFU7yLYAb8rv1m2P15FVF3uqqgT4xEXoRjds8sxDKE7SxGhQdtn1A2WcBLmrGeNpjJqilbbklcAwhkJx/gEfvdDEUjj8nzInhGAdB8baC6lSBwJv7yxJHISndjuQcyFuy1OwTn9kxWGRd8yReb+9cvcIe8MuP+gZREJYvIyUoDFuc/s+A+FYUs2UhjMKjs9AtpbACiGVjaEgwJNcVj9UO9PxhNP4TvEQhlMAjZtwEcZBy4xiNmRi33b79TtraBE9GULEHvbCGiiz4nCG/UAQWSTqYuXYlqD4xFr3Ays38UZqkfmwqEyljeETqL48u6/jPE196CT0PXZVf8C3iNOWfXBnyBLz9UuSedXhQefSQaIh5Swieyl/aRjptTC4MsJ30+9PteOrM6MWBREMWeX2iQvTdBVmj2f+mg8v+ZC1Fll3KrDSl1THBJgJKUfWV54AsYQJ1sy29H0AXbnwR+Xwn7Ri60bzp5kNTcFRCdVjpUvveaWtDJ6E+3mmZUlXIZnrQxe0gU46OpFWBkISqHDaaWS/T41uoNo6G65d2suZXuhsxxC2SV6b9m1NjAgranpydIIuP5TeyVtOf2xjvO1+dPiZDFAEbCa1uXKBMLqRi+vNCOiONq+xwSOjGYCB5AIyveTt2HUDtAj+vpFkXHTCWtQ4dk21jFSRmfWvq/TrKZj2olGrqK1WZ57IN38pkVavUyR4SHgybRPn7t04j1+VVkqthjW3pmVlSKD3Ha1rAa3nvQMxCdi9yZfEaI6neOguivrAK+H9Wvi5B7fehuNBjszpygiDjjd5nKcAfzfWctGTlmjNMgk96gb9Wd76zjnq+yKilf+QGg5qQ7a+aU20AMo7/rRkhkuGqQ7MbKreqVqVAiaJjoV6rlfRE6vL6f+Z4INYgZ5JJriVr0IUmgXQq8G4J0dk2H6PEHFjW/NDgmRtjWOrxBPLoQygX7crIiT65JObWYmm75Ko9EFmUD/a9Zp1r1V6HxrzHTqFeR4B4gYMDl2ZyF/RClguk/M43kmJEO5nXBOMdRH0ZqjVMU+fyNl4GaqJSChpIq5XMTiSPsM/rgRPh9QtPPxzICOEE66jIymeLDnl16ZnbvRtOg1Qr19Y48y2pCgAXJWXBKYHLXQRyIAaxSqA/l5PjUIJ5Sdbp/3eqTxlw5liSJI92jHVfMvzarmXPv6OlbNWvlm6wVAwWwJeuRFuNBzuyc5OtXvcIZGPc0whOype9Ewx4rokCmuWGRPg4G9VdKeITttNh1dCOvKpOJwVDALOtY6JYQEL623mP5oINhWjrvYWJ0jtN0lfhcb1xW8H9ZQn0bSFSq57w4AElxg0AHwREhzLeGiV5nhtYSkTIYXJ7jaBrZ3CYfZlsLRaxaQsU8A/2E1VzmTzHIvzcBKhcWj8tpR9h3F8IomlhCuL6WyCAAJkX1C0N7nK6HQjaptDzMBW0SUAEC50x8CtzMPR8grtpqPR0zKrQ/ZJoi0+XKM42csMOlFMAu1Wq2vx/XnaqA3iMI6K45DHt8TwYWBMssl5DhtCUhfT266tK/SGBaebDqC/eKxaMgXJKXT3eb4yrw9CjjYmFRjbzgHCwk5+FSqu+kFffmKZX9XAewBMN2hun246yS6CaqWPejf2mcdDQSsYrSgzVGOF5QlhWp3BFv45aS1P9uMcvfrKYBBMZohWsy6KH8KwESXWJ8Co+uwMIooZ5QEOYLdrmyyTxaAkRowfQmIgGdS8yhk1ZJVMmzaGV+fggNCPNvw1wmJmwCmn0ipVdq+4hpQ8UGooDUNbZ5Hjb2rDrsmkDY8x4MLz9fMTSx+LbK8Nm9218tQQUXJJI3LGHbC2lc+k/EZN/Q1TYxYwTuhHkwc8TL9BPfG4CKTbZe8Y8u2MYwT7fav4cZP6Y08ZxJasN0u/V8+BNB4ExUYznjepmXgBbtUkUZY7E0zKuAdgWMQctqQFFN2o9MHfb5hB3VSK0YILEyjd5Zmdx4wte82qqJ6QryH5dwS5HvblbkVs1rjvIyA9YQWkcK/YM7dP2Ie7jlOwXGrxsgEwz1xS9nrkyhyCK5tiQDujMqPboOLM1c5WvI/1bsbLbP27iXH197d/o/i2vSuilkb5VsBBbQz7Edpb8/uqKuT7zI2fHLXtrM52bKUcaGkmDIZOPuEnUc9KNTLy5Ehz3GxyjnFNq3alcqGl3I3dVIM9JZPTzRhzqFicSD6S2txIY33ScwNynOl1u4BXAYFd+21sbJQ7tLFCrd1nK+fKdoJUP1OvkFN6Sh2XRB3JPLFio4oNnEF2+QEd0Su7fgsIB2rrhYIPMA2QwQbJIciUTlYrlElFZvIPUIlUC3rKAJDPT20bHUD5ZTV2+/L/+U4Rw2YO+EQgI9ywt5Ide/xssm6jPaRYTL8bmw+VOe4kwsx6gg10jDb9X3ILb3Xnoi4iPk0dAoLP3Cv3WmzY0CnUu7e1TgJ0X/5JXYsVBPtXN+ceommkxP/k4dNSZnrw6KqFBkC2gI+xUiU23+dOq5oeBfpMoizPInFJ/MEEo6l3DPKPLMkWQISg3QT7LTushaAS3C/jiskexKxElSSLgwDkp2Qc1ttS5XKwouu84aVckoqUxt6VkL2uxxHLOiEcrR1+8COG2gV7RFtUHfsztUVIY7SbXD6C3iPtfHV823SM1+t700MjV3ONdNjsC8DD1DWBpIAs828mFejoOULkSHBmfRD1N9erzZVpI0FsYYUSRudfcU/naU/syPM0Pe2K4vG5OGHndxTMOi1Ya2ci2dvfoJDPFUaoE5GSqMPztXz9i675nZu77c7xG2c6zO68YOHe+SNgHMN4oqVdZNP2oBAXuuo9MA8qdD4P/14qMpvi+brk143qV3teaXCpoOvMOrFaaGJVzjomfk24DXfHCs0YsMAJi+0hEciLvs8zYQcN1RkZhTWYRbCzogu88oVlfwfYjL0mxSl07GIXbIbVqUJSJpI4wC40HL+ZQ6cEIjLvTYA8Dizx7aVs/cVBon2DW8AuZsYJoMxJW/DOcBoBj8JA/ONm+UxwK8UrWRUWfJhW+EVAwwLZ0z6ZQn4sKnlXti6r7KWacEJ1XIwNbV1Dv0lc66StGsIzuuuEzpl98hfL1Txido+kYyrOVBZPVtgd1pqzbgixTRyEXJ3GE3naNPXWivIcPHVib/DyAwDv6EGbDnkmS74LkCe6t+xkAKQNl1+pBwtJbpMnhqA31S+o1DWOdQwiMEipWlLWxMDX7FE+dNRGzNLmRRD+9BdN+K4GVHElLZzK+irO8ePya43j6iW21+lljAsaq/T5W9kQY1YcCYrRwvrAknFpAeSKvDm4YIp1Dd2N9uq4h5xsmc9M0q/4SfvLcMltZq8iLjc5e+jnytbye87NRR15SejzEa5vc/IYTgiFi2Z+cFpp5kILRpTe/s/KCLPOOqY4ZxthAoKBjb69uiGMngUyjQU6t02z/59gxzeTDEseCeoKHD0ve2ulBOfSgrZieGqb3TKgMGonocx+w2CXhhiQ76FdDMsYTNLifPULnaaQ8XE2STMwqBaTtESVVw1T47AhDzzw3/cH4x3eLeUc/aGKuiWjCkV6t2BUUCfUHOegektw/soxNcq6PO5WhHdE0DqiFeKbwR8H8Bfa/dGxXtmJEPhWdElca3POpwWo3NuvRiq+lXtLVnNEpKqNFdpb2d3W6p03WYqx7H6L8KhcHT+oOlun0g6ikFVbQDkfJb7Oy0UuyCNtuU0/jonwmuC0VsSK8B9CEY1JBU5OJhlFyCYpHwvgVK1Eu701AFbhl0uoHCPpQAPQS53s3IcVLaiSgweZ6HMW5jsa2R88+cfVVA7LlXvkm84acqFtdse4GB/ADaki83+Zr7Jxd6K+qEqQxCdeB8oYzMKHSo0BTDyK9vscQ8N1qIYZ9EGckmIpTKOgsbhdYz1U/4T8h8Dbtjfn9Rwtz7u93TdfPkmIj4FW/UFS6dlgpxFQ06GMnlD6VzEkvssEaPg06Qzz9nugZ1xG3TgvExHIp+kGBBdFGmw9fj4puVXERHIGn9GsPiaP0cGcklZm+IhZIQotFVrKxtTDHGDMlUqZheoysqYmmIUwgKcXNW5kih7FH7iHlSBrI7MgYn3OyPk0ybVWCPgXKTcsxrkcXV6wQsMzacGyovMKLurcrpUEeEHQegq/MwoJX3rEybGmPHFIpKgLPS7pwA+ARHevBZBu2tuAc7lUX7mN7o/Y0LvgnV8KQHBymt7ZvIfgzVylZFPTsdBD8eGXQmj3Aye9hXAQrG2nkCvOs+JS00enQYVwxyWHX3/DcV9IsjYgay55DmSelKWnTTAdvPfY1m96zL2DCdV1gAsWl4hquBrPaqMzPMOFBS/xZhc9i0yoTp8utio6aacpPT0S0/1nrCGgh4n0ZdHAKoBpTIp+Q0F8Jshhitns0g9TErwnS6K7yXjBgq0u8JC19JrAhJD3MxpxxldX8VEVjaft0Cm22lMhIK3LfOxNExTKDuVxlfe50DAoxH0c3uxxN00M5hu9Jpt40Q2IXVmBbnUdFkfxOwjk/i3rt3YzIL1S/G3sqmDXCKiGya0WcsJq+77TkxxJoaGXfwHrBfof90lyksVQcygDrrcjvnrbySnoK0bAu87ymx2GfSqGFv/6dl5gUZjBXaYRl/lvN+te/S978Ss+tlD67mXMVPxooMevdgIHcrGsLgveKBnKdmfHLU4UuJm7QQ0wMF3sJMG+bfpDTMAGo3wum3bUSq79mb92+Du2TtD7Yx/OI2MIfyd5jqKCc35SrAw34XcIrTyrDIQl+T4jE7mjb3x79T7AcCJLEKj/yeOO40zbSLbd46zniT0S7JZjH0el73XZjk5yB35tcgpBBoN1FpPATA5/bzF9vEBHDMBWEylULABKj7nBdV4mUiJU6qV4g1f+gVLD9kxTOAyw1FYXiF6XavN0ckwVop/GOjKai4JH9PFKedF8dkR/+QZT8hPyCj3uN2yQarwHoVTzzRXcUWZPIDDFcrE904vOZlYqjRZwCHKv5AaGfopVCISw7oNTS3yQqulzYz/lo/Kn5webUHmwnK6mjVQ3BUDU9hwRN5sJdEg+JO9UH0EEj4m5mEU0f/8kBsYBHdNaEqXWCMC2S4dIZCClDrQ6jvwr/k/nm1qsVH/QlB0kjrJ+3+WIlAu9RDL+8yUsdJ8ASQSznPUOMJRS+uYCF2FIW9ub/6BNy101Ss0BSgyiQ7vaIcX3L0HGTnGKlvN46xfgHM7EM0myotWCKNY0W8wkJocrd9EhgKNtVvk2m0ro2faFloOg/+YMoNMEEDAL3tICXgbQFP1D9meOHHtG1Sny85ojiJ8ul8ITGCurOiQqlUAoBgXC1UhaRfaDHHw6N6mVRwK3VRleBSmKGhKV7uwZRIgrzS3ejx7VtZRMRKPzrhoosZ14eRyUcjRFYRNE478qRGQj8kHDQNNR0KZyheMoJ5jAVsboIG7JilW7E9dW2TLZYudniHzH5Nb4z4/rjYADLnzFQOCM595+PS2qFlGe3VP30lesGhIbaMA1BqD4Qi/70mvgtNazJ65d1ZP0Z5Ku3WS/sAfxQonwRFVLMUG/gOnsxA0OHnHYi193IV1j7QSrNgXFNYzfxROGKJWML/+ujsvuvDNoNqdIHsBmojmT/viOjtcsswIDnmLzNpfUVGFf8kz4EslqOyhYeqYfCrkHgMH93yaaAkbMLb7/DndDnWvAMkd7V042TyGefymayv0bxUAUhZ1m8vEZL971T60A/pLyOu9qdRuiRuzO5FF0e72E+2LJhR7DjEVs8nh+iJSpvBaKC7ZtxFEfG61ot18yoUR8130Cr4ujfta0jECzVxrHjhuLUh6PIfTh6lzIH33Fdceez0o3VtqnaE4hTgO8BePAx6VPXEMCaB9/8MRSxN6n3AG9mdKUtG4WYHtKo6vJKPixzUpOomHG/9AobBw3j5MCsnSl+nLeOcAuKj7CG7Rpwp7F0CGJwdz5It6hkSJV8IZNDrqqzscAJDhUBd2udGQY5x5kqeIENyez17hnyA/Zm9HPq/7YAMkPyVKIxIAvd8sh2OJJXe0JdsUq52eTZT99/tRDbRYgtH+3Kh85Ghlfx8ZUA1w0E8KlHLigHnnEUOKPjtkYq+gRNmxiRssHDUgdObOpAa13yImUQMMTSSmeCOgghGa2ho1wxIqmS50053wmHGHJRV9/sbPyo9QboK2MOgKAPoZx0X3zg1l40FvSYmLt4SQu4I6MLWCyiaNnfO4M7XhuZuSKKJoij2FbB/3xumkyLChOw9lvvYG9TouOXp4luHmHzInJQ4JWdF4SBI6lwXq5mGE/0d2eLevZe3Nm+/dKoJmepjvV5/B/tv6zBRERrqa/7rCFJYJ/MEnmFIPAqujJtb6PwWi4GehrJzYQCeCKlJINdXSfjT/LR9o5scx3JZHXtcl5WI3N/Lcf9fj0E3iUp9VJB9ygNGR3kh+gS56kwcrrvl+ZC7/m5TZwHNGgQKE74TMmX/wyjujNq2nb6Zvg2PTxqNxIBj5Dh7p3saPAZ5bg9DoTtTLqalFtIBGC7jHl+y08JXIz2yXRbRCOS2aGQxXfo6H24PZsWYNwr/8F6O0a4EaZS4sCLqcq4onRl0MAQTl9ED6Yy58fEovvRotaRYSJRmQcNgiqQFq9ktNKjti46ws/WsTzlcBrHWnIRHqyiVd3pgTXp/+MucsjngqAyLiEbQ7d1VqLNFsluzkV/oldBNFMUbbtMSCxkSI3Ntdw80iOPbi2q4mjZXRXhBQvuKWwvdH1q6fw4txdG6A0H9JYCyMfikmi3MCHQHCtKxmm8KGnzV+uBGDXyy087YK5OOUCOkzSELH0KMroeEwd1JLADqyY7w1lay+P4AOFOCEODytlMa3xNvWK84WySMXTEaDpUMIJEApLIlrMEbRxgj8LMswp3CGp4oMz+Q1fLqnJ4W+frdTGAj8eRlMVFUWNxbo8iZ2Aibso9aDEhU1d2OdTQ0hYkmlmhYq7Vd52ZbuudX6OJwrZ7aoIOePwHZOUM/Hv0JmblFlR+cC5xOlqczvjTtTzLoX6SRJ0NbXqO7vhtFs2g4kUnVz2xgdG/jSYWGlDMDGMGhrixhralsh7zdw7/rbOGfQ1+majxJrrnFdmOdb7qNKqA2Z1rNwrbh+Mtdwn6UhOkEeNoazWIAM/U63JkZ2zM0ocYZngMW/cy3JNRIGhQV/lvHzRflMTQUnbI/f1WLfG9v9V7dPMaaiatKnp4pmczjoBOJYj3kAAqjJJo1b19mWDMjodvAVVNCfI/4fQ+wS/2t0Tz8dCfXYj9Y4tFQe/H0eYdAo7i4+W8p0op4PM/+U7x0lxiPXCWSxAngkqCeblUHawJ81h+tA1rBmunnjojq76OMvg8OcH2/NQcPM4iP9AbWfH0Dlks8eVDB07kHroD8XkyV37eKvhDqWtKzdRyndB7aNH+XN07Nt4Caz6/sjd8O7dys5rDpl//T5wrcmQdEvpvsG1Nxg4QMbCSdZrcMsM70I8qqZeWfHxnbVdxNL9WApkLvDkQcSU498Z9CZaixJS5yNrzJ39IUmqNQ+T1Oc9fA2NNvbdFV3TMiZkq/Dq+JhMEuiw8Crz7iE8xUGHjId+KjCq7hTWyEBpjYuSXCJyGCTZuHySKXQOdP56AXsR+sHIy7G9PHdu83jBQe3MW3lGB9tFf3qVzW4Uey0ZejES8QwtEeMjMJ6f0JlIEM5dZBQPVtuL26tAwbrnzoA5sBcx3UmGPOp+UmlTzhQ678m+GciGHegxMvOsCtDziw3scz/CWJD6NYLQssYP4cbX8YpX/SZqbnVTI9OI83rknCFYyAhksAZKGvOYS8Y6LckKNFA9do7jb0X+MA3hsdnwfWWoCavL7p700zUIjXskj113/GYasv0ws917O/cl+ovuC3T9p17FGfOz4D6anRAuPiXwFdYKAXpHtclH1e9aUVsDvR73Ub1dImIqu0JadElttlcEC3HqSzMlcjhBJscQP4OCaLkA0w5Pf7AlkV4kyvXD2mLwnPjkKVshjgXVQ4hL2AlJwbZ1XCLHnJexJ9HrNBKZXaWAlY4pFzXLjJwGbnFEepFSD5N3ab/nNMYmUEcYE4oSKX0uDj1XDUtODgYFwYAgVPbxCTJJ6k7e8r7BXeBwm5aFtfyRlPqveLn4kjE9keRCXATttBwrijnc5w3+XFgwfVi15RxOIhSNn4uZIiNZGuLgdPzOaaGPtg8OMukzkmnGocqmjW8di9srr/gz8DuAZGETukxZHQs95P1MXr/br0K6DeSVPIj9c9SjzV4MJ8UGXBHGZD7aj0kipzSlff1Z+n8xoVAo4XHVt09LfaHV0s0/f2kmwauEhfbFeH0jRUwnRbKBPPDthYd6unUUg0V1QimSjXbjf92DLRVAe1ddGJkL3HkgeUThH76pPIn+1FIqP+jTQyXJI9xGxKj3a8kAlvlYYHWnqzYJ4XJdVpN44w9txceIouuC2oejWCYNI5txdpn879PTM73z85BBApH9tZcInkhPOwVRIJhdQ/Qbc/reCnhP9edQNP0t29osfKPDpXaY1goVQTaXd3iUz2ey84slu6jxzB7tycvuox4VkaJ8KguZn6TC1gnTVzVZ8QJiJXdwjIpR7w9FYO3NZvvfcOFDhJg7vUJYtG/e49qUAdu68YD6E0tWBQ3Vo71sK0x3gg3ah+h1hvq/kPP+E4JC/ZMruuSORQIEGw4ER4X4FaIPIJh0bJRNapeuwZ9hX7D3Mg8wx89Tu+YHPDyaK8YiWiqbcehOGknhm56gl6nrfDSIzxle6Cimch2+VjaWDbII992CsNqddpZ7ULjyIH/HcoZ3PcgLlCa9eaRHnYDWBP6zUqm9dQHI3p2VkHO5yUMlao7Y8smWVMYau4/yP12z7uozyhkG+MIWhbBRbUjZH6fR8agCxz7DgY+QU7wQZZx5bshiDdtWDf8gQtjAYzkHBB8iIId31isZ5MiIaZ3KEzIwhwnHloVoRESFzV6hMumiYHEft/4keUd7JvFDvkI/L25QP1TNvftwP2de26zWSOAr3Ty9AdrX9KeNYNALSrt4jQ5rUZSaebgkiIDKGsAc+svs7mLZ8arp3eDyF1PgcodBEXo2/qJb8x/RsTRBlsrXp9kaRCDwAnAmhJLxwNn8ak/pS+O092HETJjewQlCEllvLxfuqOgiia0rxWPchLhPEQcW2/E3XsQ+nWFqt26gjFt/gCOqhOEIcvUiPOfnFbiyMX42BSjYyp+lMKv9/f3yHxvuFdzZXztBwdxXk8jWlRf8TDX8eWtloE4fFjXMId9RywsFEAky5UUA7+rxaf0LbrJVU9LsRnpX8aROKO0uU3iSk7cNn0SfAWcL6LXJ9p0FjQFxCQeFwkdt7rBBzc19+ohLI9O64K/z1a9k/XDXN3aiTLGNmKWmw/sAai4bgKMq5JwaYPzcCA9aqo2WwTg13kyjVFx05xf6dEQTCcvliSOFRw/12SCOLs2bR4cpEEZaiosWtQb1OldWBdE4RnhSP9ktP/m4FpF9EIj7CbjzI3V8tbsZ+n1GQ7m5DL4xTGQLhACDE/ul1+xp57ogeONHRKg15LhYypdpLxgAA0OxmnFmUMlnoYFzpcK5xLB6Ltj+nCEs/35F3e3JB+U7OU8mkerrW2AjT+uiVFFLj/gVj0KYDt5BC7OtIVGQXUUvIjBxi3LGiCEKxNARFp0H1pv+RdsOO2bXeqdLvnPrW9VafhGw0lI0lnkdW3p8rGnfkBcp6q667l/TQlUR0usQLPPcmh3I9G9FAjI7hqSLJT9E6+m/HkIC+kQS6pDpijAIu5nrqucHe3vWjtNOf42/JwQXqPHoPj/sVc0TRoyHHLr8Z1r3E02QGY8GAZnSfNOIOP9eyhzn4h/fzpwNrofSAnEMKpqrSqajDCknE+hSZzPuYwyKI1lc2vLQV3eQktfTPo0Jpsg2rHsjLH5nYHUigFAL5G/RCiMmyxOt1d/Ej8uhqysZ9QWpsH8BXMOi/RH74ASSUUBOjGHBI9SFetavELJLFKlFBcDHbOzYZoTfGaF88Mzfxd5aWuloebZ/W0eM6EsCZwEabIP4VsbID0hcveRW2bwHmyklW1WgI5D+VIshhj4sr1lyrd0p6wIhwkYdi94KP11+KbP4qAkQppvjGdcyMAsUj5mLXi4S2jNRIZWB3Hrd2JWFbo0WqsS7yGGWsiWwuXAts1d6nZTJ00LbwIeLxqseZpNKTul3++HRjZY7paBdeQtfRF4wOmbOOvSAO1kKICuHKmoJ7hu0Y8W0co7kef8JItMgdERcf/q8Br5k6HpVJJ8cqySNq4GiBiQxWCLnxQg9IvYaQvXiy407JDdESMXSvUhLHS/M7GbPc4tRu9mpr/1JS2AII0LDBCEH9rGQZBLzNXlTn0U6UVIx0LlpDDBKZcRzoinHCT8XSq1QsqnpUlltpuZ3rdRAu2cf2zLmx4egrfMpkEdJdRyla1El3YAQ1U48VuS5YlKkYF+i5cEZfNs/gbCYfOvThRrVxo+m1RHAltSklvNUqWRrJBjT7kj4CpH91h5ES3EvxHt2fuPKX1oqbr1XUplsb+P57b8VyM0svL37ez/VfcHn+DVZ/308ZKt+eIAQWsXOwhKCHl5M0vdgxbXVg+SM18omKbQJRBmBnaIDjKMCMFf+yv/HoK2VeUbjrBAkZt7HW0Qvu5OARWzl5zgh8W6xLsjVIc59wRuhmza+he4Zj0wVad3/dx9dQjsaSOWBj12Fu+YEDiuHdsy0KS1bMHDttGAjJXhUHd2Om4WVRxrxkpdJ4oeUNdrgtI4QnQm67sAaOxs8kQRkleywgc0zDslu7yB11rYTdr/HhJyQvMSk3Hx0/F73NAkR/wAJwGXANTH7o6xr5qxcI9z9Iq9kiEfOwmePJDkM3VbFe0wk12YLGdCVxHCIksgNYsePkL0liYhO0lB1ya0B1fCvkPPOE0mhYFJ96ngu43JzAGIprGOye8E2SqYRYI0vlwIGOq6J+g7OMUh4Bl0iTlXuBLLBkx4tbCjt6AzHA4r94BywFGvNxsOgeCtu0hGy8EJluu+hwR9QFwGjpp15xGiSdBXNaQesDcCodQFVLiB2LfHX+xKIdGJAIkugYmuccQeadY9C6EDii46bMmcuXsquSp8fVY3ie6N9P0gywXCDboGiq4v3fNVkmJIK9TTcfcNKxHrxC+7LMAqCrgg4u/bDL1df3w0jmrrRP/CG2CmI/tP8VG5GdTqMeChMK2zTaakp2zDGrfzQR0lkBxpy/DAiv330uw+qZyu5z8gTNzi9Po900MiCQt9reM5+EX/Kv8/lOKetD4MSqoUtdNl0s4XlBBi/4rxsmIC/DtXxCLMbqqIEdUrvwC9i/8wALN33kOP8uwIrOV8VlOqS8y3o+cGD2ypE+jI2Exh2D77mGhOfCJugRFLEF5n5eqBgE75JcSEk9ziADSnnekqZUUEd/zWKGHLc5RQ6EAEXS4BEF/S6T8W4mVkyyir77fOXE05W8r8RJqeA5Kq6Vw4FqVUoFFrc7difU3p0ks5hKq7wqPYrMbF7hsboB/R6zUHC+nIYSrW3ZnpsVRuRCknTr7bWfWaxUchxFaaw3YauSxr7mqy5ic3OskxL1v3AWI4qnX3pGq3FeitDcX69sk4N/BK54g1QhyUn7tVykPd+q78VjmQu1TEY85iWDKx7swMpLCzk8AJw7yevZDU2I57YLEPCGiQ37T6UKoid16iE8QEzwCaPa4rk0EEr0MiGwW3aVbB9bD7Gkpqj7lfs/M4umVXjCtpO4DismmKrEZo9FU+kDuQkc8QUd3ysu7uOuZgQZReyeLXsvlyThShgS9LTWXxGoACBVqgkKd1iei49urdFVqdOGLaZSxDQP/0+qBuOI+KOJ5TTk7OoIYhfVfMAgruzzAWbOyu3G3EVai1mIXxVa/wvE3nrg6Z9MNj48mTZvSuPlDJDYKzf4ddWqK0FxPhY523vRon/aYRrsXbgQVd5zuNysSI8h+dQVjAz0uEduWyLW88zwgeLmwMeK00JU+jpgUgw98UBSC8gNt4kadvBoSICjg9+EoRrrppFeMUSweRJfXffTQ9n2fFT1WlYB01OFi+bww3J1NIY0C5EpYFHDMwNvTHJmIolfUqEPuaVmDGmUizbNl+LUTMqrjMCe7OQ/4qZabWm8noMbLFXf8LgmlYk9odqzmpaN1NyIeOhCyfIiu0wYOcsQt5NiTFf8oMPpgWPyGCQs5gCRZyPT+YKhiqmEJadFQS4PN7A5MCJzotiWFP6Jffjt/a9Vh0nfw4CC3ekB3SnquJ/6HauU5i8bx40KAtoIuH7fojMnoglc9Xa7vNXNVPsEfZSYxL41mpSlIFoPHArA+7WGk9Uau0wOMrSJPq8O4z1JbGtKBX35ag6mOBD/T5oc0dnEPFZN3xH0Q5m8nWTavdFmx+vNrfBN/H0yQm9lXPddTi044TsJQYmxlPol6v0gPyeaQrfGBLDGZo64k8uJ0XypfYxaFYf/CpjTrd9Ji9YH/4w29lBolFaYNdXkRfjs+6Qkh9SB352zQRNn4coL1RpAiVTlfdSJRfBU5dFmnn6OMeoQrbx+5tUc77U4EGZ5QebqV2A7ewB0jKgehgpJZER6+iGJXMobqnJOGybJQrWSk3gigzCR47Jlq7dxjLoRsGwtyHaIBHAsN6DOk5slwM5L3U9N0wAayHdGR63TCmqVKrxna2cQZDKeijKWW1tNYQRNnvfRv3O4xhQzMNwE25cdQ4PKQiG/yHwOcPnCJeGroTn539sQrTmqNy22T+Ics7CtddwtfW/HyvwMyj35lh03lvshdZCcosxJ75RXWgdClVcdKQRv2C82Wo28wg/lMkHyueMbj1UCfGtWAXl44a4BRxlohzkSr+695+AFY9b78Nicu2jkOqBtNxMQAoFmPqtycJsl9OjT7GSs22zGOI8T1uOhKbJR63GroQVAfnngMW20de3A8CfL3YB7UjhkDQSnGTmnjdtNLFuwIzboiEMo2j0tohHLqceUKk6rwpfX+KmPVgSXQTsvVfGjTXvKv3f39zZKFOjcgv4wqgq5D45pDeRPBGak1ikpTkHDGwtfhtdGZqZ+O88Bopi9SY+yUKLgS1r3B74exJzehskEZ6bt9+i2BNxocfNupQEc5jr29qEb1tT0CTfL8TiTKlDFsggg5k4SQbqN+amWOEgq0kn+N1QcxVPoaMV+IwzKWSQHDA+hCFO+vLKrm7R7qjcwpc/orRi73fCtf9r+bFx+7XAn3rgjb1CuNmi8qF2qkHqS8IeelELAmuPqdwfobV4xmk94gQuVj55AkEl+HuJIl3HmlX2yOInoTngnmy/TOG+TponPEKic13oAyxDVnklBs2Bp9b1E1h3NgodkA0btVXP4ls32790KAEJkRARf8n2hohCLaQgAG+07W3/JxSymGHtHGF4jiZtkB/4poaxWfviVjBIyeu9v9GYASg8mBEBOE+eXfZIZO3zw13hjkd6hOb/zS1quHLfC1NoQQZyzTw/YU0gEktzPmoyZZSfN2y9fpnJRrr5E6UcerwEd/X9lnQhPGf+wmUlvnYXx4ZV5Xf1ZM7HU2BY/3uukHt0umFBJuPxoAQ7IJIlv5seq0VrnPaNDnpg4hP9Eqt7q/3e61qb0UAPQVfQTgQv8D0OflcoQykkZ680395Nxku5A1h3veiKKQD7hua0HSkxKgJx13suMkvY8UOy9zFKi8fzqvgWm7+cxm24rkrUh4RUduzb/56rCyCeG30auzVg5xF5N9bXSMsb9ioFsOaSpjgOfGAYDbYheqFgD62Rdob4yP6cfBhLBoTWMv+Pv0g8Z59sRV2G6B7Rj/NMwKNT5xzFEKsN8Ij7ctH28EFWzLDKkWl1Qh1qBbT1bQmIBSeMDArZF42fMDBcqVc3+1fTwdmYkOC+nemTrdOlbquvhwFUK2lj2lSFNjHK1Put6O7UylGaYT4lma2CI53Hs0zo5VazcbHz6O1UZxjqsAJMwxrwRxKvu6XrTP3NjyK+4RkNkBsVt3ZD4MhECki8Ef4ofP41ZlR6l2UiiDSrLG6YHbfvnmFO3vjB7r7jZdHM9DOxUmaU4cefURgIwDsrTzzMQE4LuB00JXFhWOq+yp6lZVJjcon0Z7Qab5843GQn35YfU7ezp8HHJdm25eaFm+m6uqtVNlQT6dYqRcwiL8uakE2JFUYLFsQ+xEmJ8H9S8o0MlzE6+bduBo8WkMB6wLsAueddn08fqh2othGUuJ6MfWFthNbxSjPI8B9odA7+rHI6dr0f/+8YhZLEMD7ROAGwMxev1lv9ZfjpkZlscvkOk2Hvlflef6DrWCk+9sZ7A0/s5jplDbSwb0T+PwHxTqL/+UOKqKg0J2/vs0TkObnapxwMjuGTnEMpMAq56g1EcuZVqhgeHHW4Z3KmXNkpgIeF01sUlp4CajQP7BoE197P/Aimu07w6EgF8LFOWqdGSGUL3h8DrDVpWaST+T+V3TJIWoUD0bNTJj9WtwllqbIpMlHdGZCotCCwdP6xSqrwex5xx094WQy25vjHG3ZGWJ9xFdGivsA6ejNeyW7f1EKXb1DunrcvMfCWK1aRVhCP+aArIh2fW+43XImw1hB7jasm1i7mzglIOGLH55HEAicKFG/Glbis6p1F4T053n8v8O0eVa2iroRePi89P4xtpH1yMp/Wd2HCtldzv+9N7oB2tT0pQ6NNhkRxV9toXyyErmEzBJ5m1XP+mrI4OgrmuR5uuiJawldHiXwKR/wEffnp5GIs6nxbWAT0dvsnAIao36W/BDDRySUCum/psbFMVM24AFczWvmcBPUlVnrUGrjNRB5H/jb07gSlIpXSxDP/LGiTk0icDAibG5dtSU5h1GJCc8GvKpgUXyK8k5S90YPxOMhzRgZK8gkbAR9Tnp50utBPeNtwO/Hm0oYIJ3yxRVpJdwiv1Uu5SEqgq9DsKiFkEiC3DWIwyzZ7nwJYIFrxYqldyCK9KRRcFxr2RGBU0S8vigDOXYR6dYUYGPap5HA+WtHtDc2ESzOMGxJhu5BTN+dHhO2TXqQEtoIyjoUHDaQTeRueK3TkkIq4FRXo2Izq2r9XqQMjjm7Ry4DzzZbtZCKgo8qvYq+HLvMsNQO6aaFo0MfdOyYAPrsMFS9fff7AOo+I687tFau/xAOR+ioLJI7QacUMD1vUdUhMSbMtZ0N5Jz2KPXBmTzGzYDZtQ+S/3cQEmkUTyNgtoOJdNLb0KojO2Mql+5DJa5vFe9HzFammpQBIl+vqMZ5pbQN+B5E81309Yze/6AQUHjTuf+9T89Cmmbx0UIqscp/P4bIUpUJCvmo8Rfamy4eZo5xFgIczQZy1rsQBcZhQdsfTfZuWfakeIeGxFOjaGdDAUpNJS2fh1ZmLBNVApLQPesG/EBApXrZRQz9YA3913IN3uCZzowlxvn9Go6XizBR+iEKmQOrYRXUiMFi331fylmgJeyTDk04ygLUf7WQwMAX5xJAosRyMaZxpNqGB/JQKH31RhyqieTwbVpIukK50q2jhgIMpwhwPvDJ0CaDgZpOwlixbiBragPUuvDSvAyAa29jwmoXNsHgVNMsXD+Uwlc6EPZJtRaRLrAfghC/p3pZFqz6qBAk+wp28xpG6hDLJoVal5yT/QJDS+gOB0T4XEJm2eR6xUiRKG8+dhp66Jb90Q8LrOYncoflyPRuDmxfw38+u481R7+4PI1CfsLnqUfDWuLIOlxFigu6zg/VFl8Qrc0Nle3YRODJ72s9PrBvfrRTFXcj+hpCiX1MTrlrb6HUstiCJztS3jxAyy7IWvTIrNsboZ3lM3+o9BGJuftzzsgDKzOeGTKDjHXr+W8p9+P4XAOeYWg7q4Btnf6XeWckyXEsvYIaU4nlJj/mb6eQ9PTnUNvIj2hO4ROA8am7lzKJ/HLyKW0Txlr0G2PdCVOYJmn30sdo90gG0zYqC1GIkHClPMF3xNX25A+1AJFOQ7ZkrbW42HYpl4evRwR9dgDw7mJnb4E5zGk8dGzsbnr+eXVoBT3WKH+Etz4O0lnJyp9U0ItpRN4Ma9J8xh52ktA+GuIzb2XugLw+7iEg9UhvGUmz5zUpTlVyjZiOJ0xtFbCJ60eoJEGXadtzBU1MsJ6g74aR+7eyQi0CeRntthIGovh0ZuQOIVEHURAJ2o0g6cONhKGHmbMx7pw1QgsI1F0uKS2ICym1lb5O9w+FfMxZMv4mVKo2ro79k13KulzkkCtjcaFr6fW2uOgn3+5rOHBGFlu+Nk3/hcjWo9+zLRZkEAG2hrgnXfLbA6GXOXwEPdHKp9cgbKgwN1nSIYFAKPETmMiuomcl4PeAuLWIysfWPYR0R0hCJIadXp4EPNKkN3z/rLm3+4M42syyf1aELgtsrMzMIybpESsI2mwSRIUa03gYEK/ILOMq7a8Ag0l0xiSgCN1uUBDqNBYx4kJ6bZBTs4iJN5O7aCLfSWh7B5MhowF/zJggRMaVP48MiduqBGhb/rewszMajw7tv/cgf7GohUZ2JjIV7eg0Nn+FOpSe4ipwY6aX9cKApzxXsztniOsN7F2vnPMO3eIasblx70ZxgXM1wQxihu+0BnRxExkh21zCpzIhAcnHW15krMKWLQpDCXB8CAqsNyuSWrgPlPV4NUij8D+0+oGZCAzCFB7Ntt93Y0FVEfBzXRuBUSemr9CEhzXDXuHzyJBW2uavGgnxwa3h6lgnh0PnFHdCz/uwzCohdBcI5k4AMHIghRROCF3E9byb9xkT3vRfNqVTHWqlELfTpoU5U0OFNnAwMPLwWZLyWc9/1rziqEQxWVYZgCmd2KDV7KEJBrkly+AZzGog9Y44tCjAszcnmouW+lcSMXjzgmFCReriG3gjMPKTaafFDK4fyCzUdmzjko+E+waCPVUItaWrMvpOTEAUFefrlbrDY5XAwkRQ1eUwbdP3WB0VnFiCjNQ1L0nqqhqN/tI4zHTnFXTh0ny3P1/rekookcOYhUjfKWEQwVJcm9jZLUxPVIE4268VqsFzDJnK8+2+GHMaoAIb0j9bNbiPiuzODOYmjOHWFQe5qrMmImh4Ei5hEUQovtuS6D23CQtMZ7dQbpi+bfWhObuiuXpgBzZs89YopLCCRefn8Qdvk4TDYXPRveJEeSqyVdxZg+bwRaEiZfbL6yxdBQFaIH740FZnOL8ltCkZku/Fx3hhHf+Mx4gA7W4JP2/i+JLxJsTRESkeOxO258KFBmGOsc4ExaZEvwQm7MXmeuPukldbH9OYIOT0BIgokSphDT0HXd1OqJu8jd9O3h2ZtJSyxumI3JLXtqwEOYFi4kCaEQ9X/Io7uGm2h6/jhRZdkZqg5cknOAyiK0sbi2huXBMALFo84tpTkbgkpiKOSDgDSl9dP+DUup9QczV8qEuPcg44pGGxQ1pa0qCOXa1Et5hDxf5+u7eSPqQR7QKkAbDCv5+c2XIAvqsUMhch80V9VUmGGFQU5pSXXPIkOOxKY1nWSMJydXxvn4q16EUEtnDVu3fRO2Jtjgzr1VVV6Z7O01zRHYxZyAAaTfX88uupEgSmM1aGPTXbCma4Z9JYUEHbtYO7eBNLwkPtS5udxHNGo9QwkDMcFrjE8b8slD6q1O7wYkT/Tmx9ilsZOWmW59gITtURDxYpfh5xEMDqqEWhgiEczd0QcfxF+UdtKMvuhcGU8bYOT1z8E9rkr2XmdCc/OrV2CVrfHxkWwyhi+iuuSJP/LOE6yE+HVaREQI6h7rhU/wLNJPNaEaQkYV6hV4LHTfs/pqtEfefyD1cT/P+hLl/MV1w01tMBi6J9O/6dqszc0oEWgTwyfOWAXEAIIf5M/DkWqVAsp2em1i3JFSRT/7b3ySqZN2rZnIb8tq0NtD71z+qgTUa7ajdAG/G82G9s1eePmpH8lDrCrKb5tBsFjzs5taIkmP7//9K8lgw96UCNm4byvc5hNLS2E1GEqakPK172XMSIQBzagNNICiw3bCz8UIgqXE0zE5+keCWvF2/yx1vDOf8QUkjxZ7vvjMVgJbbH0PMxh3FQng3+Aia0I6/HD9Kt2zfeoUpeRGX01xzXmI2NBt3EsYq4zivkNkTkRvI6Vx+tvFV73+yGlzZLmEq2ghFGMVlmy5vwjIg6E5/K0g8f2thBuOspbvyrgrqTJ101b1K4bBb+hmzxB0sGpPgEjpaIznfj0PD5TsqFbiNujPaJ1TqTPaBRyaOnSoKVPAHGIrQfbwILAEjE8xAn445u/mJSbpqz7HCjS2nG3S4D7P5s6te1mN1MqbpYhij675C4JRbWO3LMLiHKYJb+3XXVdo5yKzPtckQCGSleASqB7IeoG1uZLO3IPxn0B3oxlbCsv1eBAtdxfOoEF4nJ1QGkpcrw7Yu9jLja7Q32NHvS6cTM1/s9V2qHikdtf/IWuqlToKFLyHdYDY+StEuq+gP7XZJD0oP/tFJGV4kvVBFm+4foLzmiUcl4A8+Hl7lvx872wSGdVU24BB05khMjcvETTWzYGy49atssEBV88AI4QJSWDCH05vR0/QkY+WuWCe6iysWahxeeUQP6nbVkh4G3twcWS6SNu4vFMG/jb7mbB+E5FTiWxVjCNCnSJjgzMQMt7z44tneqr2bz5GXbLXsRBQ4GX8+9hrc20Ct5VKZa/HWW0720jH5JH9Z6GhiuxD/EHuTckfW7l6A4CH4RppbOeashIvCmM1hw+9zddi1jhOrZankqDn7/OT1L7ThsBLL+p8qwHD/QGA9T8kADtQ9hXBWN8sPChMSwv4++1gRty9azSAc1V/8ovByVK05dIsA2emVOtladV/Hm9kovqQ37/lGXk9HODHIGNtha1VNeZjmSXxvr+bWBo8DHu2dBTk/T1YC2ip/iMAKYznM1QpoSa4pwojGJIIYwsoF6yYQMOw9sQa70GqebvMKc/x1DM181wPH7qCyXnzlXxTGqqfV46PvVpwyA71h3+VyrwNPrO6w4u1comfRRPF+T4ZHUyfIpj4qXxmR0QZ7Ue0n3GZ3NWMsx3BgNbsDhRlJOCoMClonxsFlVy1R5JOGl80XklEMYR8YYpn5XNnR7sOQwzh4gc56+HOooDasVaTuL/1W/8WkUkKfBJ5WArryOLJ2pMDq0r0L73R47AVNnTVHg8541wFFxHf76iVpI68JWZmfYciMG9Fks4y2bYprgOXcCB80/YfF85lgOJbQ0RRS3BF+hX5MdhO0FchcOPbP/ofNP2D06HmwTRwRwDbRuOasHm+8DvHQfTqZY1s621Q+mkrWX8KZC5MLzK1geo8Pp6cwSmDXnOeWAaaaylkUS/ujSQR1pPLus8RZoWShc6JGcqHnp358ZRrOH3AP8AYYpvjnLn6DEUhSyyByK9WFsB82C3ycqYiePl/EToNtjjOvuwtP5th98snAlGu9VCIEzkYjAlnmTnHl+jFZVaWFgFlKzTeF1HdkxyEVE8om93sr62E3Z/6rb1IjOyVgF6owdPqmJT3Go0YAANa810Jgoc0VqS2v4JHytFjtVEFgZKXwDqItSompl+/2sUrA3ITUDpokakGLPN9bSaWlxn23oMoOPH/dQXc0HizwOWOmG7SHuzvdgkscE4nfIp7E+wGOqPgg6JONAb40nYaYqA6b8bavPHpBpcn1PHMeZaXMtNBhifvYeUdfe6DZlIc7rGq9F1F5HbY7/ZBbZfyX0VLfA+B9b8BZeK5Ordt0ypOwCsJEHyaEtLlCXFf2v0QoYhjhiOnp24gx2o7bmkr4yPDPi0aZLebxLr72vHRTI8IE060zArp/McOu7yk9jde7/HrgFQ6iXf1/q36uoN+Fe4fNTlbwowFFbXhgdIqDIdwZjnx17axdtFTBdP45/hbskn7H8L+Uug8rh/LuH8hLx8zNiTb9oEVwp1Y0UYbemJOrHVG5ZyDGk3pjK21yJ9DPvIdnk0SKcB2tQkHrM7J+RgkZB35JEDe0v7PAyWq16dHPrQmckiAsBhpyN+1N54+bkcb69xBtOaoWC4RYmWUlJI6kw1tls0drKDTIGqy7VgCa6wHyEnD5Zj9o5HENKHzA8uM4o4f1tNmj4XLgP9B6yImVxDES10J+DUlVFsT8Xg9r6zH4ZngBOs3hxqs5guDE53PcDnkAmnFnFUVmTzV/V0kqrYDkAV02znnaVn0tGZK79/MJOfvWLRWA1p8w6lpBxzYFXRV9a7ShRZ1OnVShwjFPXtilrJzogsH5U7mdgjgINkJJxXW+M/9xCDY8VnRY/ORCzD6/6AFLb4uzg5aI5KGZJSfnP4ApkXQXSOvOTptOujs+CJDxTooE7JkxJfiXqkUsTEJjchfVuQY9FOZ2Q3yY617mUqVKOg8zuT0w4YaEFaXdfE4/a1ISqOpje1bzNp3UbZVDj7ex28mVXeBmpFt1c+frL875mqO05kZRqfIDdhn3HNTvUyH8ONZqR9IE0iL+ID5g/H8zEtx+yeoi9EYKIFYjEoS/IPzgbtw0LGPJ9dhn6ORrYA0YDqR+o0sPFXXEXjcqhrBN7FvMfTgRlJckqQU4/fCGptaFdg0/cGPG42srURz57OJURgiTxK6waepIAyjljFhmwKmmSUITWbwzJeTqp7EIpCuawFKA6ZNXUggyMZBdG1vvdJnDLlAOYEbOFiVadnJiHZo68K7KWh05XAzJi8J0GBjPw9R0DHbEErgpVT/Nv3AWWLb9Odpt3SJcs4ZU4g7jkOQTF6a+AtlhYELWOlkH3VI6+R6T9+Si9lqINaMdth0VwQsn1zsCGRqycJdIY0JgYYhrXYIgVFNtdMJH08Bt60UTSZclEXzi6gk/JZ6GY12BZs6fdJ0546L6HZ/UfLuvjF+tyZPGXfahno7S0t5qqBHkqnsR5id0bVHF6vjjfKlhkaEIBExmPNNGtO0Pvc7tyz2kHr9q0WkMTgu2GMI0TxoUV430ZpkDOMnMXb0NAbXgUVQaCuXdjwubo2NEKQ7pY8TEHfBJobJdjejM8ith7f9gK6Vzl8HczBF/3YYDHmRPJRfuCaX7WIgDX5I6fXzQ2EFKM8Q0brT9YOsXkaE03NXx2Ro8AKC/qocC8CazJ0deIRIhyBVGkxSrhE2TmdzppnDeD6tDqE8tlehExG8FkYoLiTjUGAazmNphqYV7vr53A5PgceHGmjpHoizJW+LsFlTntsMYQZdHw6iUpg9J98VX7SGQslasbDh1X5iam8bpQWRlPlxu1asND7v7Et7sZ3wvcnFs0Qp+etGrqvLwTetpobPhOK45AQpQ1cSDCGobsop8W5tbHP9Xys19K/VoRLPsMqRHyXNu4ufPqfn5R3hHSSiHIk8vzGfZmZvFI//aGz2n245czU4PBQVXnhHSLW/dOyHBTrnpX4RI+fRX48Y4Cva6ddngrYJxt7u8tquZqN16n5tKXm2PW+JlLzCw5ODf4SfSkQuH82AtyQMd86OYQ+PO0tRWwrjwZLMVYKvSguKfxbV2sf8lxwcuKQW3xZHofPT9es81NyZrpkPJPsYJkXx25Qvs284bEHPhdGdIBulmB+UDAs0Limxo6Exz9ihSvCjGQ56Sf7VFu1c62R0MJCnjXzfyTy53ZqD/OH6+8HkQjyqWQ2prFqOXos8E1UVGLyoq8BgIW8XpP04KakbsISVKKjjAROgsfZc/bi4ydkgd70jffOMurTo9RjHNTg96xoNQeGgVkP7VrnV0/tGUDtUqJMCuZzCi5xUlSpQ2sfxiglDhuyJq0R8x+5xakkPQsyiWq3eitgZWIxI6+MzYGd0EHbBYbUWCj7Hv5zgFpUKwTE0bf/DN5aPFALjVrTatcGOxMZOvDkZ8lvxGjBffGw0ovgtnTSkfqR06i6PHANe11rO8s9SFJuv4b3OSijpQAaw5wTgbrC0erDeO0GDl1ruVlanSo66Va2XESYkv6YGnn56jHe9L+3R9+StR/MSU3BIMjnE0nP6LcsR/n1lm2PVKNPj71U+zxIrHYqmyS15TSdUzKMNYWP4TwWjRKlv7EWC8qn+uuD5jxNmffnIxMYrmv7rEecbdjnrvQtJyG1rtdboyVWYd5YxNyP+3cZqZ+tfJknmF/aenswhMYzJoweYe9fR2gTdwUxSk8tft0g3I044s8479bOsSx174n4zi8XFtouJJKlVaMvVY3sxz6WF1brD/SQBGvStERnEdRwtntP/+fl1QGXGTrIwPQ7AkCGaY/7wHS4gbWb2Rh533YI5n3uXlUVjUTnkArOpTidje4Wn3Cb2sUhq7cozfma3nVboYGiKNgzx7t/kz2Qq9T4ppQ+cMGYP2v94Wdsvwch5q8MhlelokruaIHzJ5RCu8o2JLKM+5TRCHhCxr2agxX4VGTdkUofXjpM9b0DeZdgtuLz+5G6g0mqwx9X2mYGXgCnwojqfH0cAoVBmOsmim/78gEOatJnxvwvKWQEDnFyadTkApXERG9141iAHed/ypAh6oFkokoDRiW5DCS5PS3UUj+qWx61o2e1VZKKt1cGWU5RVFMrS3cJCG58g4MNwsLh/Nd5oTzsAz4okrzP6qcPdJgQwsp+YZ7eGyqjJf3pEB+4bfp9FYTuqYHjPWiKOIIzUF//XPLu1+KYys0EW8ujUCz0U36UkrbbVCfNVZ7SNfCZGjE7IcvmTFEFj17jNI9wwTyVYeg3YY2wCzePxXY1w+iJO4zXJ5wprN7Ai0sQ5fyyZREoj4zDv6rW9PLGeNYkuxBeq6TqatTT7rRZA2EogHlN0erTQPVsthK2pQsB5H326go0O8SFjRhhEYqDqbZBcPkxhY36msgLts2M+H4I5xajPpq5M79O5JfhJfOiYZb6p06oytVCTqydz8i3PnrlhZyHgUKpH6fCNo5kbjJR2YfH3Jay7Ie3EEJDOSqEJ1mLkHlTXrP5ngQkP1PY+Fz+lKijxWGFZ5KYOyv6cBwIRAjU3XJltY7HODnG+494o+sqBdjFzo52r7+K46LmR/RR5zRgqdsWUkulvDZu9/Cgru0dlXVQQ3FuIOFs+u4PT/mGVjLteA4ekOyjZ01fZ8MPjDcMEEM2/pZ34p9w3bee6i50C+Nktu8nwsn6pbAEs4FJgkCMMkvgoJjHkH3lkRSzGvwy7ryUf19H6GEENAwD2lci6TG0TsyttMNghxTP7ACPHIP5RTTEbX1BNSrnvzB6CZ/6YovcwV1BOUrug7dGpvyzdb32KiMdCvdoysnsqE8nAl02Wf4n85RR4Id0586dlrh2OEtYUp72PYpcJdE6pVw8GRkNduE/2y7SZ9hl2a+YGVmBpXzyKnhartljynjnGiwZTbVrSmWfWuxmH90ZTgN4DX0m1rGv72Y2C4XGm6qDx6LyBWAseNwFOIH3MAZfdwvTAP2MU+ybs3xzjTZnsxtsaXlkti0MOkg+3ubFlFZGlZaMkA4Ev4DoWbgEGTKplotefOezkA5QOTVU1PmBDhbWStXx4Yg8jgBqcjEWSyYsWpV+q8oWE96tLPfElXMpSRRq8OmclIn0dz0hlMDuLTVpKFfDJK6sVy9PseCU0xYWjxBzBE/SW2SF7q/DWMxdOR9gBjx9imSjlwKVbe7Uz6foM2FbB+P3R+E4it546faoQinDngQK/KBDgQXwQtHZ10Vg2YAty62witKaCKaX1RzPYddvPTgM189Iur5h4pLht2rqDPwxuICg+D12nRSs0LQ/GZeeuF0bcfwAys07qleNbmHKH2iIFRfZ1545rKW6mOt6QBpGpENade5+zdVBAFdP761l/cWqJIChz9zBp/bxXhKcXtLUA2rshdG5pIflQthrFrk7zURJ0Cd20ceM6rdD7peZvP4eapgQwqx9lI2cS7DDNgLfUKof9/L1R1j08NtcQWZiZjH4XjVhURgn9f8rCKL9EYDbGXhqZvh78ZxLXhq7FT9jjCOHoG4wP2CRHZhMFq4PPySh/5RXaWuzn/PrKQL7gFNnKFXd5C1k2Ho70DkdcvO5JK7C9THpFj2cqD7Jv0a22etIdg5nCsCrtBfs5WD+WGhLjv9vBE+Q+4pxYjEymqEXdskB8BzJdlK38DZntnGD2alQ7SVlhgbAhGXlzKbbUsZP093eMbmd1SlWtfFopupNwHygqnPDT3+kNBLc9FjVDiySkuhaGacujRkTgTaJ9f3JPMqfxGysOsoOcbk1oQQPn2o7ykPlyevv4sswHr8Ub9eEnW3H76ozOn4ba9Q3075rjaWUUJxYJrFowlhJjikkQoYjbw61NVcOXdJyf6YmfNEp8IY5ywIiv5Fgp3R9LEBvl5rAq3OV+T4DE4zxRsoa+Hzpk6DIyEx7rhRxSKOxY75PR2WYa00wDdDMHfNHwQ/iAi+dGTDjWvPaC4m9W3+OI0gr2e2a0YbSAI5dVBxYiBQlWjggnfITeetkd+460qqoRJ6jy+pka+L3kS5+MyOy3BuvlmmwYqBzkvn4fTbUncpirV/yrsAh0TuQ9ubJRCj7610+mEHmdhzCbxLUMkhB91cdB09fxmVveSksriLjQ4sltP8XU3NCJx+G0elFIr/faJfTT8SFCfDp/i9ybXpaQXZvEBdtjGCS8FMqMDa9IBhvA+FwqIxs5OslCti4HehbKGT/lYDbUZNRP6Vqr8DkYfp5U71rZGFINMS0H7QgRVsslTC5pdWqYKejV5XCRt31HjDIwvVNDemTkjoD9ljCV1uDfnbZHpm6fP1FQZXQY7buOW4Fd3QVn6fDNwmMqzPe8WuDrpBe+QjkzqV7dz6EZQPyp5187V/0Q0mKHR5vKwXUWEmxbIsZ8bFZR8PhHKKo5ffz/FHBKk5IOL9Wbhzhh2q29fpZIx0tgia/8G+ZcJCK+heFruPVTHEXpEPj0Xv6qWuiyzsjabypyvQe3Fi2XSdHWyRUYDiJHWO3t8vN2XhmFGPhxZvE6gD/D00PvWG3gFYghXneRfDaTNLNcXHS/jWYec+b4gS340G0TLTPxqN4WvrO3YekmfGThoS8TYqSQInXkymvvf6yB8W1v0aDKDTuWkeW5a6tiLsBc6zVckCfDhnqwSthHAvTyClhfFI6w2mEmEe/MrTT6y3GC/U3yNAD+LZkiV0bjbb1gc+GqIWcHc2q2C/iszLym6T5RxseCjGmBwnCCrJxd+hzexh6PfGw80sFRj/2bk6tJreHNYUax/HXMJ39lfPppHNfnBSXpDIIJ1SnidRAIzT19EeILbbirG0dlgVtRCXa+JVfS8LT3IUYYpkZEwVyZYbITY/Be5hPfQKDygKaXHAHAYTqh9m2gVHeP5QbKXw6sPGZAuKeOcS2G9JVocz9MnCXq/ujpidYH7ptcX5jekpAL+ju8n8thjVC4mSIJyp9tyGwIGtFAwl8BT3R4cRJ7GLQBLIgQs3FlHAe7UylMm4b34rENgSLYgvG91rPeacNKObKKML7d1Ig2ykGaOX6ukUC3zEKyu22YKmIQITOd7O+XWgZ35A9hA/YJcsLWrI5wsVPWoqWj3h7muSQ6OQVhdj5ffgcPPEWf+DOg0wfuoDsMDWA1K7vuAh6dM2fXkkzQBvuxhKz4RLRJMF7YQT1tVHmFldjk3JhBD8kwh8q82KrU/1RiUUTz+pM2vNlitT8vKtm1VEVIpha9aJ2yXxyf0dKK333xAJV6nu5X0IoMTy2KrEKhIyVFD9Up0Rrq7J9W5ffCrAwKHFoC6aiVV5mIgDBqXViLr+WJKBfDDOhHBeUso9lC7kfhTnP96aasE2DvnRgAGBXZnqYud7Y0aV59cmS1j+ZxvNKeaucLbzMSUtn553u7z6TTAzLVmdrjc+NZ7beYKz+9BpZ+cq9fALOmLkrHMFdW06dKfoJAatVRVEOLG6oQ8PiZduNkwYfd5Y3dc6tg813rnZwELjBx1R8np7JhAzBgu6X59+eneISbcnFoxR6ZNCXckHNNThf1gzzgxws+zc9FfBcUVeifJ8WX9hRyHNGNSj1g51V+Qd4cXQoQe8thApwss0XU5cdcccXvrklFSCvS3k0QH8jEAGTYgZoLQ/fTrbnXsTi+W/eeyJF0C6CyPQoAudku3rT/e98ugGK9d0Bd/KU0r0NErpESPnjgWHc4tv+75vg6brVC5Bs088I8IT044J/D/81wXBfQ/WVuDpWGt+3aSxGVktJhnwviTF6tAKBvsTZwnw5RNoKD6QEwyPETSYafCsRf0zBnn8vCWPJe7qn+o8xdCYJbDoRNfTfhhcd05nWTJTahNt+yvtiqWLK+0xwbYL+MOfAAG7Hb50wFtCPhBrnwiYwQQNqfckTTXjeLB8thEVfQk2toZTGHe98QfroVqOGWb0aydua/K+IjpHlvE6o6Ej3tCfO7B7YaIKA79+dd75uioQVkR4gxBTGb2lPESeEQJHfhYGPVEmPfFIqxKJUYWeofXCBNR4BukVqrupoPnU8jnu8Hv3VO6aAUbfzMaeMcW+M/7DNYa1aGNHFpzlRk8GTO5Wtysc90/Mr9Itt9Z8d8vtyMsYK6X5oOe0cmU0RBhFmE+1MePOZMYw16lSlyesjePzgzHa514+ztxt1GFiyTCjQTf6wWhOavT4Cul+sJJVC5yYf1UnsFytQGZrc6pzcExL4WvcQbGiBn+FiAJ7DXiFPTL9rEV4uCzKNV1XZ/aN/csLbACPVrLC3cW53zm+wV52P6ci+QchswoLVUEU/qDTw/0CSqbmNL9s6P0rDItHqQP4WbpX7xHSHPC2eGauAMFC+1t6Hk264JINI8CHgKkoomIliapbV2fOd0dqViZevqbvv0Lo4lY3IDsdVm2WdcR6mW0wgeb3kXAOkzZ+5lF9gLYU+JKVMHiaFMUqyp2MILV6JDINsLR+k+OnxFcmtEJ0o5Z/mjgguq/tny7alu7uP/PFVe6hR2HcUIrmlWQnYKKk62e6cj8WWFKqXuNWYb4eGz8H3NTDF3vRCdoPQge4OdVZoYSchs0SBJJ7XF6nvRrlIarmRumVkXoF2IzhJpIZwgfZcJWBO7BH1ZfBCspXwU7SFvyUxmfPVHipuWvxUdQLGPi3mKQ7jqH0lkOBQGx1lb3OEej2fA84wErs9ShpeIxQB3zyk2KElw5kZbj9WD3mM0Qy+ggKmbg8fyCN825IB/wmvMi5wYG9TtppXGVaCh/DMESqij9Tf0+5BW01PcQ62Srjv8WjfIFPtwtiaucRatM7b814XYxLxytKcKwPhMoV3erdT72xci0Xi+r59D53bUGaPvX8ZaZ5N/ufFe/vShny6JwBDTi0tXydVK2NeXCs2DwJVUVjF9IHAuJLpxWqoifc+8NgL+h2wqMBOI9ERbwFl88XtV3BWwMERAs6GozY9yLN3agPwoeFn6GChH86StsrCDvpiqJ4k7uaLuA4z4q/3BwGWnYtDQZMWf0rFQrCOaKyRnSKUXfwZVyKlomhkZU4TiJnqfe8DEcigHyEDzIlj0il11wSMWUMBqEGJCcPM9DEhr4QPWEc0IJEAdp4Nxyz/8ehm2cJTIKb7K6d02EOUiuvQqYhBWn0yA8rFOMlaZBgjcydoiFfN1bAaczIRTcBevueg7zUaWZpFylHeMpiQ9E1STqU7lCdrEB1QwCJUnhwgfqgu5Rdcwv3Z/4A++Se9J6GCML0NrJp3/zFqQEG/ahsL4IWIyaX2K2Scw5kPh5C9RNrCub+v7Prm4uS1rEVswQbN4vnrLicG99uDQyLCjmzyPwZcClfxw++NM0vAz3hUFjVVBytldtT5aGigA19/Uf5R2HrsbQOQuyDO1/zYq8MnUcDwNXDgXs7FxQLFgwoy0EaQpHz9b8PrUDfONBBE7d/WbBjuKjHAGGpCUomnIV1NxRTpqA32/UU8b3jYk6dL2/eQ4KpxRtYHTxOmiGsegBVRUskr9NAhgores0rh/ubKkdKy+rzEH9rKpNvsD9Iy/5J4SlWLjoek9jSW7icQWdv5ulnZQFKBQvoNqbC9A/ibDbf10okiRKDFdERMWEyXptdBCCSj/4Mi+J7tQh8LWtXbAx2ZIsTwXehy+CychubqvHyIYD3igVDuuF8oiHpKLQY9WW+HwGcNiqPD0Dz0KPg89c7AdYhwykel0BE9AZ+2Mj3OoudWdAeOmc65h17sBMvSINueeEacMYKFlibZ5QJVhYulZ8tSywvPKxOS97kFsgxC7mO+DnJqQqwN3mIacQZYpsB/3fdIT0fSArfhXNvQ+SHxD4JVObn6QXNXUpnS5iVhD4YDfDMRDfGooy5xtnpDHL4bdlw/j1XRKKZIz+yAokFCMSkIebed0Hzt/lwOe+9GbtLE7Fbn9nRWfLIQORvK9eqFifU4lhlSJ67sLroUHQj2HNEU+TfNgMu2x5nqeo+LXR/VN7v3n1X+CZGDMlP/0aoYEcdg8WdoY4IYedZgGkWlL4M6AtGjOWdqHNpeTorKvfCUPK7vdDm6ep7qCIG3LtvISXESOnAdP9yPmvQ0Fn+62smpEkUDnSSgzHG6G9bxgjRuf7ZXxwT8G5H9egk2Gix9PrujzqiA5nj3+6dBVA6xScVMoN1TFSgJZ8z6CUz7ST+QcmLDqGAnBulShTSQ/lAFle3HiWt1BsVygSUgoLfUEMw76bsUXpyHGnbnF+Rme1s+0WUyC7efJwWguZHi/pSc5pP0CMsA4oNKCwSNRAd+WfPsdRri/isU+u2YbGE7IX2RvWlddkrQRR/tlRJlDoWOzQWIKtxs9p0+TDzYNNrWr/FIqE//ocqbCfNNGFvesDgUxb2jQD/PMs3jWEJF5kqEE9mDLTKWL+ZzULlgrwKJu+/EwQu3tVuBwj74l95MUJjLuAQJTKlB2BPntV/Lod1aHH8UcZ0qVemy1FJxvWsjBYrY9pRjk1HeTtSK7AqCU3ZA3f9vNzd01YoqXcuWy247EgWcE0z60PNu3fFzQVGrxP7DJefsxpU3xgQ0RmCh0ZQo8vJJhdPJt2HWesu1cVlxdf3qGdo/9qtUah08Hostv9MqgKejuJx/bfJjL/sLQvX9dYFZioOAZlL14NPwf2PP6qnaUs+fNcr5DvQuEIger4WHYNK6SgUdo66vc1KmYvY21b+xhH30CugAfr49rQ/LBZ8MG5MAsJxQXJ65rtd7IpSzkoKf6QCCVjRrlCEyWj7gCoAvawbtfaCCvyw25xCCooiRKrWTe+rhuNNsAJKYrjUSqSbLhA56kY+k1mG6pZaffv1QfnAKNwkRY5rpupI/K5FqPhMjQkyGchQrrgUWIW1NMRHuw9KxU0zdsx2vhbzlnuUfx7xEIT717kcLBJLHWwQ7D7f4SBj9+E7QaITs48XrBIHpXaNrf+lAXOlI3dI16/fdku19DC5vxQq7+b6WKjOKu0gmM+oBC4HGT9pCymusYtX0qHf5MwLhRSVbO2NCTJsOgeyJr8Mw2bIfKz3wwDiOLKGtlx5fJ5LM4+kEicI3WB4xYgpweE4sZ9ShFEvUYzJfD9nVosu4e1lLSMSsRMI0vEXclG/cK34zn3uQ8pIEJ5EPVYMx3v7PmbyIb5/IIPFZHgFa2jqlXBGP7ndbF/jEyXWFDh0xwzUskQakbhE6Gh+hg2s5+Lkh/t9m+T3cbcrxUuNOqrn4nE/muN9R82Cf2fog/igrjI/k9ZfTlmRG4Nxwq+rdLobhgxBcpYOUMiCtnjp/zBmEF+GsV55+t+NsuhnxOgGgaIdMtI/QMjknC9rrjV5Ow/CzrI3X7ka2blXXkJphMLda+CklfKiVUq05UzdGgf+nWtOL7w4yv8AozXMNsjjD+Jcow7CGNbzNGqKSc+HjEzNecPJzP+UsTFZPgEa/jiCz57oR2trW7QQ6jZwCrbWV7XTgZjg+armQUMUlNJgLunizhrMhTAf5kMX5+p4jjt4DLegFef/BKtEAL+O+5QNwO61bMkuxoIct7+oZU1oYHkA03SxWnUk3Xi6hzY8ndWLlPpd3fL8GTmuAjg/eLG6lOQmsAyjZESZGPHmcr0tsQMwdYz2m0gRiE0uM1wKcAZz14YPfCtA+rGcsEOmHt/HQyMSFJvwzNEVLSn49bZJSNEkYvA4KzU3l9MEo9c2OWGRdPpL3C5/pNJNH7qRdD7/IXqiDWsB0YKF1prVvcaGOr2xx1jQNUG9ijhV/P9MnGxJz1OAmJLrKnSLcorQbl1UwvF/5rnwuDFygRmgPotyy0TbfR+nMEXhIYnGzcz82O9uFVn+8RhUEDgOxKQcI1N8ontnKSgPCkArWPvwFE5oiq6orRxhBgcvjIHHPgsZCID8kyh10RTNtpwQhouQGV1/vv5bWWm8obYJwrERCYuVqNl7uxIFw5DGNqY2sXL8V5TFQ7Yh2IT6epuUM9l7jHxFO1sN7xHc0LAV6vrdezPTO+zO0m+TG1tk07qC5g7Zl9ZM+AQfXZLkW617MRtpKboN3i/bTmaAqlX5uctdDuodyEphuhINNPB/QXUBibHUq0tdgWMUl35aLnzQKDBCjR56XiwZZx/wPxQF3+TdIBfTJdHTp4uWEwMIs4qjGAoi+845oqmMmJefr8Q/KF8tm9K5bpdZZ4FVv3wOi77EnM28UJhcCm8ZWBF8raTCIOum6ecrxL/S2OStmMAMmHywqgm7W+/PN5RXy0/bP0IHUnVuKqKy41f9hTjKWH4Azop6M7rNYNpNxywMvZCLowxqr4wMkLpb9bxbaTrlvEjt+29YYOlTGITOWJS8HbK032EcjKDk/ju3cQ3GG2e22rIxKaSSiCft0OFrvM+X8a7tkx0WVB2aqL6twPXczNglzC79aSZ9GbFGixyjTu3y74rCEUQp0ef881QxzNH3kOkupwQTYcGGYL/twVXhcP8bwnJsuNeUCVP7YMPegg3F9e97bknqMOiD7hA/n7fB0tAAtNAheGiSgBb4oXKXTDRymgTUc4riL+Fd5WUIO7Xrdih3WElELbGUTNmLr/Luy+tEg6AQIRZYIoWFmnMmVtWe4y2LKvzq5QxfnM5IcyJLDHNrlJ67uWVfZ4eWe9EcitZJcAhb8qgyetsbDSJnro1pBa3rh9ecPL2d5EMsXOKxtv3g+K/xciqlFSCXyXslRpUqiz2yO/qCeM2W6W3MDNnTZ5ErVJgZ8bJkk3rqpdLJmSfRPXqEXI1ytgX9JL0Ei2ajXyzzNboiPLRfoCNwDNhsZSa5EX5UuHWCn2o8jObFEeBAfJ/uKK0VSnd2KV7m9JKM7ll1TVYVZ7fSZQJgV34lcOTMCXbNf6RY3JD6pCJ3folWVRy67mHWYe+A5kEgIoW4nuINQP+/tAItlS8VKsW9/WS+R4qsN3IPO38C4cQWKs/2VCY6xnn2qvbBx6kcDNWDGeozuFjkFCZkQGCI5LX/OdlJ85hA6rbHfmDNBld4f2hX5EqGDwKcMCzy8Wzcq5bfiLFJEMTFhZFcmocb5G7trRFWCzXZXWsNyyPASFtZ/pCX0lL2ZRSNI7whe9xNO4sWbUncieSCX+yGmaY2AMYsGz8gdZivo4OGElqeY2Hejpqnkb/xQSKaMZIx+qK4A/8qh06jVXyvSUrFheplF/WiIsFsr1mW964YwleQTx9CCx0lRNw76zcG5GhWATQlMPNhKmC8w2yXv0z875tc1aBfZQoHr6TSxx6Zn6A4onje12AllXnIgqbSg6d8kVJ6HdMGWmuwmU/BQr92+yefmiOCLnTgp0mCAJYOvWnwMNJRneRS7pHor31ILIkNV8xwF1vn6wQsEj6cmOx/TWI4SI7PeKkGaWiGULPC+mXcA0dMjRq6YIE3Z4CHi5Pe1dTA76pW67evTKrCbuMW/KCOoqmfNaVRhqnVowHZxst6AVVHPm7aORJK7U1G0qJ9urjtt1Z9c+k8+IeeBoehgH/VTMuqj6LflzKWy61Gl8TJ2CS8OoWcH/VvRjo1GnqG0CSqRDnlDd72zAAlr+PUWSD2VTE9ezQXg7KcTPBvfY+PYi9Ic/Acl8JVTj1yKN4jeb2AGgJ6JOj1+e/gKEiPiVaHX6wIPhPWijfDTPetyhGAPMlAlJ8cMaqF/r78fu55tCH36olm5nBI0O71WGJLhfIC+9qSjHCCfPPRKcCpbmK3eqyZ9R+Y+hEAH6Iiotj4VEIFIGsEsa6RNX3jxR0nrm/lzuOoTL/SsyW7ENaCIoHWx1Q5w481Hk7q0gdzRTRixd5ULzarrF8tBarSaAA529zAJye/z5cp9yWZf8n73t/H6VvWybsuRiNppUP4RPJNXIBbscO8i/7xjIrMId8xkdGYkzPxSbuJNl7HipRxv2QuJExoU/l/JtCZSQ+fyEeY0SNmi3cXVuGXpS+TbHVn+rc+dDUGyNMxoOnvxBtMyD6C/o5hpyfj+y61ETHBjl0Tjt78lZpmniIUK50zJvijPJM0dDTF6B6/xZMfLgX5lvljirfamCSgUFo2wgI+JBz+I9pUY41lAmHgU1GLZbnBunS8tOslzQWXvdKkP0xGNjP1zuviBgFeIVm1laFoIEtAUyoaJg8s7d5c+//Lh4QwYcPrQU3/hQLP8RmqJWLkB6uyQkiosyTAFA9NQd/T2ZPDKWPtpO7LcoQuF+s4TEHXdSkvjmN+NCxX+eKL/dEsaJbfWpdq80TRiS8nBRGEsgsQspJH2FAjN+1JA0vQZzht00WZuPzvsu6S0S8wGiLknYatQypX910gpdd8w7o/wLWNr6sFJn6cBNFxDdUuijsCga66atwxewKJokOuYLkwEx/eAlQsQYSi8Mib2Et6bZ9fzfyvt+VoQTx7BgLLg+iCrQ05eBv7c4lgEKBHam0RgEwYxftpXP2+SEWF705s3ig+6usWwi/XXUzwxKqtD/zcj5VYK/NFWUxwIySJ/MJlyts0ZCb58OE6rxW6j52KbQisCYIvZTMzpXfwL7BvaeCO8QGGl8dirqY7i0OOiDYDS0ggFPirh6Ox0sLBW8qq5+DQVUp0Kxq3Vz6l4Nfb5z+hrzrcWhyfDgzdDFKInicxLbC1TlLlSYSbDUwIVU3asI0DbxLwIEkrorz4tBO5gva7DpyabAFGwXHA66aS89izu5kx8garfC36GCfr+uWytJqGxj3MAho3X3qI724bjKFAKQ6zhtqr89MfvzlIsQUuUO6rDjTy5XtK+GbU6Xed92g32WaJWSAHYe3bXAkEAZQ533DFm0y9XRz6xLz3bFsSliTadMigc+2oUaD1zgJe6FB3ww3FyQL3ypxInV/7QaSfCTPYcYhCBEKrA8LH80joREU0CgTxygWxcE5uvZBDRCjmyLglbUxV/vtLFuGsnCq6XO77uJ06W/ghUXKvhXN5p7McPeZu6bsMIcLNKohZ3mo8OhSqpiiOcJ261kczCzEic9jdPUowQ0cc4vU8uIRnFJuD/HOZuSCpmqgQsd2rU3UV03+0L1zs3DIn7uQrLV9iRSCoki/lwV440fg2ZaJQzNFvF+1z2d+LovpxHGaDulyf3wtLwNK5SFWbA2oYBZr6PLDgn2nxcnVqU6w+32wowopJ6N6wMGYfOLhrrdSkcF6j9XXgNn2mu/cFZyqhU3Yw5evJ+62iHCaYd4KHVo40l3wJcB7qvWvwfyn/Fg4YiRm3fv3X0oXLrIDC0ZnLbtOibAfi+h+W8n33+N7iblc9pyzatZAA5mAfXJJPv1kNqNqJSusD1yzyHl6tcpL+gBTVda0mwJzRyrJZqZsDu1px8ZTjkM10v7ryXg02++w83WTyymc2FcCxcUSuXikjaiauC7IKvjQxHol0v4rz+LyTVfSW+3eJ+ThEd9WNCumU9ABJPisb/O6qeH2ufiwMCDYAw1MsNM0BRDq9jp+hP3pRe6qBuL1XS5KvUJxlIvyMr8i9FzQM1YQqCh20c8V2Ez8i17D35IcVfaRg7VxdVBimYccyKuzVkZVripzjZFdt8M6KKMuPbZW+ktns/QedbbSpS/vGBCefmzm20OkTl6s2XLvNVnhZ4K2jN9mBTVckMKLWNzKDZSysLtpbT4NPEXDf8VbDtznhrnT2Uw6Qv3uVhxoN0f6bzq/RcEdwnna75x6YPqw7XK8sttPxtqLWIQX10s7D97vVK+tJtzWXwuTpXi/SANnlU4rbrwIIy6AZVYhtSJ5PQ/Rs74nn1sO+r/KOUuvPyXd+k/z6LBf7uGAIQmcb2lcXdJDOzFuWev3dQg4lK3TxOuuqovfd+Z7hqVOl4Qo+9wX/XJtnPkmv4Vj2U4Rx/P6WbgG59LyRvXJurCQvGrnFU/hEXAVcBYJpSY6GPxznXWHUuXRz2o92joxbt57tx9crAgUcWX2jfamuggvmJ6mVJPU22KslM5sCIrNAlKgdLVCd8GrE+yZQO7HChxt6emx9VSXJegWCv2E9GJ+ffAXf3SK+SaBwXmImM1u7OJ/8twPBYV6Y7i1wu06UuBiy1+RGbThpf4J8MCWdHIPVw2egHGOZtYot13GEmV5tPa3xsRFmPEGsro9uiXLcYx2T2A+O9tjR/C4N6oLiyukBwN3c7JqMFT+lnZqOGUZPV3S66IGgs6I8WwtVXMhnbhxQ/VR/Kc7ZKG4IdSzhGhjWVha8UQpasoOW1IcK7KL+YVCjuGsrvrIkhmZ2P0LmyqM9rZBpm3evClht1gtFSN+RV32N27IGasppEF6UbLV6MteMIMXYs14OpuLP5QdQWPSFbuOGQfyVFHwnKJIaACBOvyFknR8BakkpnhpO7LKhlqheZgnS7q6WxHxrj0rNFbPZUFLsnk5D/UQOBIkWtQsszMNG5JVUm5N1DRikqUt2H8LnJMvOs1Tb7YsGKy4o8BxOT1o0+PhT8ZXKHyW8HmCDtDnwVh1oTZGUanBFH36CFCWfgeqxKocEGqqog1U96uniP6pFTyn/92CR0N89ujy+sT31QRlnd8kLaHn8VB0M8/W/yY2eQAKjMMDeNAWzjgns7r6r1siJb3STySdHea7sgRK/RoGwQ3vV+k+l1Oum9JuqPr+RVuzp+/Y4hRy0DFwcx5+65+M+j+7+S0qxwqOKDyK1sMWHWDYjkbbpLYuV6to5xyZwGsJS0LoMGx+wJRnfFXYmGAemRD5goxwrbTCcr7UTDoqVU9a5KGcisEcl5gQ0MYpFVKhlsgTkINvqV4jr+3y8FMTRCxnQneTEr8FoyMiQjLxGc/S3/3Ue8a99oz1ac4tqvroKlF3/Ah4xy1IK6B9PlkLhTsWrv7Q51kVR9sgV4Rrd1QW9L3zdP0AEHV90n3WIalcHesBH3JqUW8aHQqHRVeOOe9FYKzLmKnUBwcqeQdiEfdTEjkYAkPhSlg2XtIWpzlXFTsSulUTyc+CESszO7cUQJ/n3ATt2PvGo75gmAG9iFPvK1LKe4kGj5PPZPuBqYPvuKheERxpFaHCQhrQvl0+XPUTom06FUTbcWHpBBLdJdUEb/QxVV75DLzgpd1KSLhK2ND3cNExYocb0yS86Z+5RVWWGnS3xbHm/iCJ7JkIRhOV1fOgM8FiJZ7LGCIgbXBtk1lNqIFrnzVF//wQ0aR5NxoyOjIqxT8qj4V+fk81wCVqeM+6NeJD/ILPMWiAys4CwxX5rK8E77MsgbZCdnolfqaXBcA7fejsfugFHzKM7QPWTNCNkrZWBxFXFJFDKhHywp8CJ4ueqPPo1Ik4QzB4obASrz7ypVT+TkT5VAhIDdwdQxryAaOXjygntdtJW12fjbShg2VRsc74EbklBd52xRWtIMZoSCaLLvm9GtNfh3fsPAPTIOglhhadOUfhy9AyrS/V2+FfA4RBNlyowETf9hD7+M4ynN/vyYgPUGKjJOJeLHd+QWxvYpoImxdJcLYhAExLIw7DBolPZmzOTwFMP6bmbSnSDHMfr0uSrCLkljDuukt3USrIQCazqSPVOyHdM/VwLjn+1OxmFMMejcZMlbkHMRG27EO3FNZvAQQFNE7xMZ65Zk0bccqSPxKIuIhhePIGw9ohrqJO8C9gn9YZ/sZx5TixNg3BjK1vhL0u9ZOz4FQquslM5vDSImklazyCYEZgsdbeLWRJKKH8ST+1s7rUytZtA+kcQXZcBCTLw8WqvAEBnKp01OIClF7xOxKiYh2RRTH5YFDyB/TBqlbLbxmXQ2NkZYTmG6Wumbw/ukOAOt3tozz8VJMfF2IPG+ovTw1Outp/NRsJBKij//N8qumaA/DgpiqEmOZ2Dh5OtfA3U+HCQIxyyoX61fDe48OBZRfsMd/gw11Wi7Iu/po+iYMQ5ok/ffXgW7pNRxKirrZfI+9D0YvhZMKk22hYc199Eyjjvd8Gto2ukuZ0ODTJLWhTarLF84beMoI1X9aeXsv6T6OI6ydPoL1WR9VvPFr+t1UUeZAVb7BUKUGXu8c+uFgUbcS3roD6Nho1B3kSIJrU3F+cJdktePrBlBjeEnk6iC1WHQmcZ8JC4cOk2gR+GPb+zgkAgtWzNNN5Rf3y+LNaGVAfqJQZyn8VTBBkyWvXI/48ID0uGvEh7/jT9aNC3N6gVIuTDKA7zIISWghDACFsAv1yWz71FAqdCV7gTuy2qwoUNPO2oLSp7sHJOAtGTV+9w21SA2HX0CiZawMhsZ6ZuxkmntW8EM6iuGhpXdxjxtdhWM0u8YjLWXXVMxk6gnmngv9mkuV8YzdHXYxLo6cy+PbpnRg9F66DN6Lyzr34o3Xo+9WqQTjgZxRIXli6oSU8CUrbK9fTD7J5JHV7s4jMI9lfdMmbiiNq8j/T3V3nABM7OoJOmy4na15ikwy0BC5aWndG3uOa2aBzcjlyVRuvz0EdzjVOP64rsngYc7mbid2qpOekHwS0P21RQO/hQZXBdTrr0uK3p+1U1rAp7OxgxkTPAEcgnHbZsdI+9flf9WNvwJ7jbDZpsALixoO4gcVI1Wycq/6O2ZtrSgeQlZNz2pNGSYPOyQLrN17N8/21n+p2CEQe4i/wuGUo4IOygLe1tSYdZF6hUwSN1KFfaFFbJV/FKln+WU/BY85Xjd984tp5CghmL53DlaeLuLzSJ8Gywsrg9KCnbmU5TDAk77uty3C4oYlvq6nyccvySoU8+ZNA+fYjuismlyFQ4bEhuhdRp1E0naSuoSlzp2r3Xt5LjI4+geDnyqn0A2cLCV5gq5av+N0t1y9vsJmGEboiDcqXuXjjvwC/eih+AnPCP5Upt9GoxSKYb9OismJdnjq9Udz/6eJafvo237/1N62gu4kAx2gYVnIP6VPWFVRYKaG2dwEQFEwY27pDlY5+rhKisCKP78ktO35kVkKb4kOcrKEppmW7ZEOdYacgWhs5d2N5bdeGWHoi7ApXZmusNDn+MEStRaZr2q4swg0gqSUgSmX6KCiH4Fu6Absk0m/xsBfLA28NLrSRk/FKwbU/JNFsjaGK0lrOfz5f0NHfntubjrry16w5A9z457y6eP/6JZKegipqLJlB/DneO5ZgNBe5u2LjbtrJTtLDNVSdu0mXVy3zmqRv7mmw4rUkShOas26If63q9xvs+XNBnko1zFnsWSBkc4/D2NkKz/0+8ib7Qc6Fh/LULe4uQ+aVoQxnEP8HG7oN7pmWmnuHOcTLI5zZUJDOBxnytkubtPVYAfZ7qkjejrjHxAb3buZ86JyGKOxKQRnvBeT0umwdujLUwQ/x4nZ4DJLB8tx0z5k9cNrsVnRGjIE9uZFUyWSPqbm55Jcl1/auao561zXLs4Wi0onlT0habnoAVQ9xM34/eys0xcUzt9oMcE4NeEDofetHJht7+BfjFlZVO+PRjDg0u2RAhguBWonMQO9GPdhrI2LqjtiH4FSZkaA1hIqXherj9YNnrkAsINyEwCNS0fOV72gqT8Z4hsbkiWdV0Di/zlsDxmVczlrbMO3Kd85puBXX3qRSPDmaXUjXvcRvlw2JdDU4JGQ0elf16dJ9IiaghB25LbPRlZupZe7I8AZZXvXYKXiaySa4TQOvfZGO29xX4FaG5pxoe6jUlK2veiKbh/bovNmOHAIjwK2QMEHcmwXedKyWXkBFII0dGQth7zmwYC1PKA5ilhtKPNzJBhcuerecSfKqj3EvAWP9xwSjjz0SGfzH1WIvVYwjbBi3itow0LUYnU54KPMsgxAsETFurkHcCMGZpDIMR8YR+uAzpZIzazCi2IMsu4C9CUvdFSg+Ne1SDT2Ntm3JwOv+5sKVannhQal+kPt6M4TXugAXTvnGKgz/mNPkUkD1d6eHveU8hmlgSAu9fEM1trMkNc3YVFc5xT2lQ1mCm+V4cAElA6OXOgzZV1V9/laFkaT3DSRj4ng1SvRPkLu386jZq5Tr2bEba/Z3pywHGssYJ8IQTKmgXcD0ka59Gp8XIKm9NwHYXAkkzfltZ/WPSbwGV/jwiMsNTT+eXswV90G1WSl+aJR7AKFIYTIA4q/RuL1L1hoFN7KVLhmlNUWT3adkCgEFwtn04ewSSzCS+uFTTJI5amReDgYQx63qCfEaFpL6N49tXw9Q2ni6gNUdnDp0zMu/ooOBvSknMpr0dg70b+RAFi5f8iLF39h4HZ3WccIwbyJJn6tqFIxcBfMA6RRK1DjcWrR3rLJlUZBMaJPf6idiQVGhBJB" title="Mekko Graphics Chart">
            <a:extLst>
              <a:ext uri="{FF2B5EF4-FFF2-40B4-BE49-F238E27FC236}">
                <a16:creationId xmlns:a16="http://schemas.microsoft.com/office/drawing/2014/main" id="{5B3228B7-D118-4C7B-B676-2AFAFED190A9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7342" y="1791623"/>
            <a:ext cx="3633542" cy="4644487"/>
          </a:xfrm>
          <a:prstGeom prst="rect">
            <a:avLst/>
          </a:prstGeom>
          <a:blipFill>
            <a:blip r:embed="rId16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C00000"/>
              </a:solidFill>
            </a:endParaRPr>
          </a:p>
        </p:txBody>
      </p:sp>
      <p:sp>
        <p:nvSpPr>
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fuOxJrE0u8qWCvry6b4oSWzxwBNDx5TwdJdvTyHNfW52hzsAgWp3kiTm7LF9ON+R0NYgtX2fXMxCF+7tDgqiWIWP74b3GqCmGibxqhEoVS0oo4hE/HDXYv7uOVuW6PtiSpgiCsaftCNQIypdBosgUPPXtLVxRNNruzWRr22JuOt+oy8QTsR626cY16brU6YTzy2SNy22DdDd3fIryAdMFQCVeML+Rw1nP78zsFt+SxnDGuTSf2rAd88pKPbfLx3QiNZPd42z4q28slYWkyZfRw/y5Kkgr8/74NL5B6vK/j8EwWYne+8DkZfvi25PVq+cfnd98HAgfefO7HmspUOqjTlw6x/2iVF/OS3MX0W+fa6egWJPUaMTzFZOgn7B/LtSvaORqOr7NG/ikjYf7HlosIjppFBpOnz1teK8XoqXHAEJsLXRhCjDozgA3AO2Ijbu66k0DLNQ6pAPAr5eMLtzDyvz4tG9m1YVQkIu97oaV7zt+gjmkVkKh2TEGYvH3j9Y2Bi3QKwc59ulOn+VQ2L2gh1RlrRU+7teMdkg60lMyRuAY9H1suedJ0e+uq6JVZiz5SgP6/14NzUASCxkRb8v5WLiCrP86YoqLTt0v4JXoB5I1qTHyuDTRnkNShNKuyep/GI7MplP6v1nqdMqS8mFdjsKcSu+vpX7cX0lqu8GPFIG+c6YTew1MO9AYbbLMpuMefwKEDCvQCAO8TLHi5NzqhEDQr2b+BlvNKhc4YteTZJ+5dYBxPkcW4aDz+pWJoZYXR2thMs+U5O04B1vnV3Sj4l64elxDolUDXOcH3sFTlWTOkTyTvzGNsnK7R6aeqR05YmpbefLGWyGN/C+EvZHMPIn2JaVgmEkycdi1cEKrPSRCrpWKPcuw0H8Y3D+sNjD3kiaDSRfsWkawbesXwm9jxQr6VBMoQcZr5QRXjX+fHEXk3rCKVqXUYQbGq0K+EkSutfbgERvAGkJ+5DyoufeyivVY8IBJzeH979q1dNGK903PFPgkDWQtWrW52aRJzXeW57fAvCcwhZJFsPk8xYofxIAiSpb/CfX4k1YYQu0UIzX1rj+WZeRD70pUzczV4UCKY1msNC3N7YcwFRKBfdTFiqO8Z4xiI0hBLtVK+Lyr8m2KKyBGQJdBDeetaKgY5oPU6jAIiIXcUZkfjyxCtHhuiG7epdVXK6xaRGHrl8VvwKC+UACNllmvRYsF6mt4piI7HoUq+tUEiPmbsWiL2T0/UlNyxPu8iNs5rY4Cy2bIRUBpKIkFSub9BBZisjV1odJs6YB5u/CfDtpQiGCGMXNV5ol5BGpu+Zbq2bOxPsaeSxw6BnWozXv+ACjIOjya6tiM0xM6ORVrt4WQmdMWXUK/OLGdW7aFOaQiUlgjXGdd5f4Tv+1sSzgC1V16XGTgR35x4r/jUx9hJn1Z3EHyjI4Bt6x49c0dtGVhS6iAoY6NhbT0ouO73cqQs7xCQAzKeyEmbrnMCm7x+3h0O+ycBHBAyBNrBHBJU/dsHFAHJiMCgRI703O9J+mJNkSiJQY0iX4M9pZ8CdVki8U85/Pc77s668PrwukFGAjaEA6eHnHnqM3b8h/MHlPGDoC/AL/JGLDQcJTcHuRopVgDjpjRMD3mk5zN09qCvT0+Xbx3UNi1VxhshhI7dDkVOXNHdDZRDrKmK4AB5XtjwAzLo1MI+1QfPipIVJHYRUqargY7Ub8W8pj//HkL9f+xDKiQctoDKoNdss5SmUZLFXn9K67/TcDRzTCtqF7o9ij+ZHDv7iZJZQ9iGuGKCbzQJEER5uyiEzqbTVb/3HoKiVMZAmW5bK83PYb/LpoXj3Puagkl4alUXOFJFUjpEwpB8kE+WA0BDVRhRNUJbFYH8magd0anViCjJv99kcw9He+XGwP4HxeNs3xR+DXndrgHAy7RsAXoJ1p1POu/hpbEw7w9MTPYtNQY0992QH2J0EKK7SuCkAXYMnStun3fdMUutllne7bwW9FHiJwTrpHeYvoODoq3nI8pk6VU5iWa2xaSvqxPnhMQaXT6buV/v3BF3NxnpKWYTZc9DMiwUmcGNc3aGjQgimzxRKt7jLW3oWQ7D/OviK4JToY+dYw5rZfLJEE2/VuHmZxzPmmX8IpN/GLB7hu8fN9MBTZ23tPT9Gfo+Km+S8yWWSkzxU46qY9hztHma9XUSFfjDHkBM8m1Mx7inc2jpNYvmybbxL9XpPSdCFyQ+/VEUWB2mQeW7zNxdWJ+Q6m9Y/w0F8GtwC9WNDIoaBYQ7asIi95oonBE/0K/3jJ1y8JqChQI7K7RHdPr2sZZHi79jKjGwUkeRGIzfYHDBhDAH8KyDc37CudWlob8vZvd3dBc4DPxt9V2zdQKm3KNpQD1ttEslyKFYKOJFcXvJj/lv9ABSRB06fPWpMIBOGkuleu0XDvClvuC9h4OZ0uZ8k0emEKm4/wQAGdvHxV5cRtzlw5SmSf92KLGmOO3tgeX6eaPeckexGMURGdMuYU1LtnQlHGjM3enTlzoVCdF2JkOpcoAB3ydoNGh8cYPw6VKCl+M+YAQ6y3VMQ80wUK2POD6vtdFyqrr7jAxS4f1v3MUklJUvbGmD82bi6sVzHhqj/7T2ulr3emGR19AFuwQaXhPjpRAMkJwY6/e8EutiK8UXK4Ub+YUGV29sxkUf/w+skrD95km/RBafDrPLQwtwEdxFtLfLhKl8vQHmej1XwcoaQupBP0t69AbepTnU1MgfOP23P1BA8dZGxwoNnZYczLVvsRKQloYZIk+jpyiFlJ0+pIbKQK8vlAVTxMFoirxTdNZ3CogiDNV9T8DgWlRTGVUrR/0MbjyHHRVpTX+O5dCn4CvLaUhdfRL8FHmljETXujNQkvxh3ZR6CULkjre4IhjXLBH/ee2zk+WdqY/vNj4ggBROZ90Q/Kp3hcWiXphuZ+zBEP0U55QCvxYZ2WAt/GycLwdmQ9/gvQE9FMMg+q464xsgQGmkd2fABbTLc6AbV/y7/n8yzslAaVIctc1XMEg8UYCF67k7exiyeTAAX2yyykISESbgR7B8HoJLiKKYNk7wytOb7bT7cDtvqNJXpq6xiOyYxsGZumuIHTtGAR/HmIgxA7k8Fud1UHpcDUrnvKcAfwR9NLMq81pBXrzAVrhX1ZrCj9DPUoo7TjMaSESOagxwKicpY5+Mr6wLuHa2iSx7D5LbioZgd2lSLs0fIN91fHRjs/PmhwRc9QxuLWnDV6hKkKeveU40sigyPGwkwOwI7kyJ1igAM6km0z/4dB2T8/iiNS8xZ6f2MDpigG2Nk4IEOPm87G+KKgd5yfaRe9hsme8jWboXjBjgkXfZcNRv+oQJbgG2XEvfkhbxz/OCQQXjH1qZUn2OlEwao+KJHXazFGA7/+1G9LKqv1FGtzuB63ndkdl917ZJBQTdvLlyuS/mJGs5YRLonujCT9BypgErOUosr+wbw6NujulxoAcsHrwqvcMCfdjU3mGRktUoxJ8VZsHvPqCqhsDvIdZwUUs0RJqtl5vGvblMEpn8mZ1d/e92lERG8IO6NGQkSInX1gUN13+i6YCGeABOgpYMaimmHWZvz+/vnvnWaSs+lbE6Vp87cD0q4+hfQZa+TDNWjKjBEuYiPzaYfBcJblvjM1XbZm1t4EPISS/81W86zW6hGeKzEk8TP4zrixemvfcTZ3eoKTvkiGcHnEiGx5IvLpWlk+ub2Lp0LNfeg7FpjXSz/m7wq2VuinMt7etJmtEf+yy4TqEW7EYjYgV+DSanLjg3sgoK+N7Lo7mmHwic1LUN3GBim5WKg3ns5BukhDiqJG4E7KsCwuq/V4qJn19Ps+atXsEbLAsZjG04u+ZKqcN1L6Fd1OtxoOSp2d1poju7rFJLqVEMW9+Q3qrG9xnejFXGu+ZzdfqCBb1jT8WqHKnwn2+HZmwxKb9t7EenTp6c7KhCZPx+DcoT7wit1YY8vvI6TszCpmR1FipmEQyAylQ08nekvQtvyCvhIz2vcMv8BKuNrLlUQlYBHTC/c0kISob1XiegxIwqLmb8fhk5TGRMNHA3nfhFxxvXFbS7w+vg1XdU2Nptw6zHH3yhZ5gonkDOcg8VXce+m1LXqLf/YQQ7sFAq6bcndNlZ7BzkZm1lPLV29+rSpWlxdiDe0bnp0y3RqXhJRRl04tyFAUcsXudRSJzKL6+EETN3Mk4Q6X/2MxR4/I73cbc3UzO4lhVwBuyfMNMcLfl1wgvk+O2UfcRh6QmxL0uKYq/8gauNDdgY6q7udm1YD+bNj7BaoTChLOdUFbPWtCbeJ5jOsFJn3Iyq68OhDlMPRk3A6bDhOBfnomRfE2Yn/hIEv7Gt07VnRNVgqqWPvRtLZ7It+ReVdwKGI8RJtMh3Z43vFaWyBU9KFcQiFzP/Vkx1yx1h+mSrk1tc4j+EQymGdg09cqWYgKmdpTVMGF71d5tsgD92PQZ/Df5M2/w8YshZYG4M5peQ5mOmIKCQSvtbiAWsD2Su8B2TSuP/EOHumx28rYhkiPA+jUBxP6XLACvRCoYXEpfRG8y4JD61BAOKj+9YOspu5DALY4MOHtnzUCCsdv8Aya0vkDla35Ojuutq7OCPQBNe3RrCvonooncXomlrIUIFaMKABIKn/iOVy7KxlW3nT0AKMdfP4DVGZyO+K9fbtX20NhKL4gGsdBSg1BQP+k/tUzyzjVjRAFDzfjWjnng1QrgQRcI0CddcLhRD5ZCrMpNZ9/3HrsP7jcqy22qlPw6VglIZp28uF/yxQ+D/v7pNiMsqzIJVJnVGGNtRCcrRkaSPJ8pB6rvdrfhdUVF//tUqhX4hRmnynglhhn3eHfdxk4LxKMj/SoQKfRKMb1rO37olw5SgaAIyDtoJ85AinrT0/72OFHhPTgZct4S98DKHU7DCgWs8Xx7h1dfxVqSD8/MXt2rJ7dgcQ8m2BjT26OKEpmdZX+DICeL7N8l00jZqkUmnJtA0yFwdWwu9KYWh/jCWaoVIhR7UF6oDAWpSGIx6LIcZW59CKJnDJystLOO0A2MEHyEIRBX2lIOR+AHAUs4lbL7U+6S2+K5OllobtYZmjdkKRWLk3mokhKsHlnF1sEHeQ64yYzzbAe1K+czNwyFhGOwUxXB8oe0vCwJ7MGmucVwqUdglPcdRhYRBPaxNkyPKkZ6cTKWwhGPQEfTniBk4YxJTqoctzdtpOPVY34B2IEuc2aJkbXEuBAiZzWMMFR1opR6KVV+vhkTiWlutNODFuFlde8xTlbzwI2R1ObM+x3Qi68X9wSY2rJdnxc4LJdoVd73v72p8gp7p2G1/EIvdO8v2aD7d+r6xv3/DYmwd6+a3k8an8ugb0B9DdpPegyXzFzFwukGx7GAMM1i8Xchk3GnvhBctaTvuiKf/BP68P/tX0OghvB0U/N+YLZf5+PxSDLW28FhvpaC4QW9kp5QRERJ+QvjJx4q1xxGiHakUoa87mnV1QHlDMj29F2GrZJ3nsqJWlrNWOyX9+kQ9IUbY5QU2lq+Px5V91QsWwO+xT0UpPlmFvhzbD2/UaeVMMjIGcHcrPrhZw8b5XSmPNu8qMYVFf1ycb3yo2t2CGGYcG0+HhXHAe1rFPHt9JWSC9eur0VlwdZ5ztiF3kgmkHGz86110xTtN5IUzoxBCknmGVsZHHqJMrQsOSyzy6EwGSWcs7QDz4oXYDyOHdve8lDAhABXD9QqVCqV6x9FSH2zyZOddxR4ip2Cw6D6xnBb65H8pkaVCzg8ssBqRvE9xFN5+nm13JkDCzplx2GlVEVVVJuYa6/tKprDGG58GsyhtbF87t/0RsrXWxm4jdtfOvjQaY+JmnHJ0JJHnmHheLdvmjB5cLBxZNQ1SiL44ED6fZLbSrsJj5Yf1lrKLhv/4p38QzXNZFyw6MQXDsTMA53GONmxEbxqaocBtb4p3K6tArp+93U4Kwyh49HA2H1RDgz+S72yUJrdKNJutIua/OjzGJ+Cy51iID5rdL8ZHTR7rnxcPzpfSyj6nJHAk6OoN8gHUxknYEqI4uRSwhWL/hSSfCZFZmpi4XHNQIu0bR30GNosOR/sMGxA2a3EvOOGss7I32WYdr+uv/Q3/n7HvYf2X+uDEE5hJ7L4woIt73xc9TUnZj28/9JIx5oK903UZlR861983iwLy6h9KB9S7n0AmAtk0rOggCdGBen/geUxzAMIjLVkYUOOkGn908nv9qTHk1H+iGjNUxu0DuTnzekH3dWvuGsyvd5726IzEF0zZbdLUDwadmeAsJI1dBh/NyjPM95aYpAOGUM71vw8oXKCNT1ZyfVpU8ZPmFV6ZoEpQN5wrXKQvTXpGmCkTRrd2bDsHLifhE/l0z0nQMMUf0T6f8L5yfHJVtrFIQeHwVKLA5eNmRKsiHE2onX0ST4WqnV2wInPkZ/9Mz7TrXNJi73ReNjoo+3ipftaa1t4wn0+A596wjcFmgxmrK4PY7aRAOlBLY5vXS7ONWhyLEEAMy8c/I/uqM2eUfqDE9wnL2pYatf8aA25lDrdKYA1zanPcXZ39Ms4hKJt1kIFxn7UytcIxEkBn0j5S4xR9VorWG1SuwnugZ7MAC5VEoqL/TU0hNpFSoR5a9P6eMjv5b1jgdlDi89T1qu2rr43wTVIHNa5nOFGz6GIR5sz5YBK0hCADZD/L4UYE8kiIBlNSmucnpTlrRNLdFchalQzZ3PEyBf3X3zpAUTK4B+4i2yH0nQ99dCHrUXNdvqz9LUaNWPKfkxl5Gs5gV7u1lkk+QKIWV53neGEWJj3eywffUm4y/LL+yo5rLxxjWEW8qYH940yVzBctGkdNIss+kmMb1NSfP0CcTykD2huB/CV426l132fSsMPtvplIdAfYYQ2BS3AqwN8sX9iHpAFlBj76/1ksuxLV973U29EB7R11kBwhT0ML2MD+jL1/6B01RmxCOraKAU3hVolePtIFvfemG3O4uQlilT5E1M0VXM1bcfVHKTw43E+aDJA9lnQWa3uyqKOoaNUGJG70GWcTVKfg2Bwc1NAdriipzXSkxIQLg6b5ZVgUn2UTZau9PlM+keREkfBcB5Tgf7946K/5UUKBARfySRo09gVbmmXIoXeGYgMO8gjaa2vVKBYKRjhs49uLQ4TgstzTKQYWvjjsUoSczq9I7nnplEZZsIpBiue3lOFzR46aiZB+nQS5SI7MR+uupaZhG0ir/VOR6CaH/KsfVV/rMu+FC7ntXpup9DOU80xto+CF9tMssMCpTmOJwX26VUlBTjzKiFKgoIK9sIJBih9JttnMTIVnQWe7xfD2eq899TNhMj6FaAwiFYLBWHLy+v8zFWnbRd22Kdo8QQqrhO1DanBMsbDcoYJs4YrGjRoqf/uOVjFZrYi3XYMwtaCKGZkoTKDrs31jsAOON7NSh8F+tP7pm8rRGuGa0fFtqDZx4SCMlKTs991Vg9PWVtI0KyFp4vyUXIBctICOjIOyF9z4Cs9IRfaiIq+cmPuHn0XpCRObwKOzK0xtvClYcPOLgAQwWw7fgtFjDoO8A7ObJ9YLdOL8ZbBRl52r10eAHIOrNDATIny4k1d8IdPUvUrr1pnjxXmUV/eQw4PsAd+7rZ0OgSB2TBsphaRM88ugoCHSms3eD/DuzmQ6jTar4fIW4+aTC5baJK+LPRS2EpOoAddSyJRBWufSSX2DDw62s+WAzOUE7qhJH60jmaMDrIcyqI9wGtcOwrcqJjkleemdCQFyUBvrGhWWkf2I4aVWXNTKmOBDS6Rj+2SCLiHckTtt4drUdW+P4cx4BwLgjmNvFaHh2dLfAIfhQSgPYiarqi+sVFlOVGSZ+sGNZilvyoD82MRYbQ9XBljlnTuo+RVPFodwasBwauFy787Nk75asPc4iPFTwXNsRc3xEvdh7PU6n+zyLu4c2UvtJ9qLkGtap89ZIMxhqDbDFVuTHP9UQskqHGs2L3H8nwZyYQlg+ndRPBu+jVK8lxlivE8Nd2F0HBRadsT5GXxF6H1FUPCrmGxhhgX/UWYKKoqzcZVg6sexJACfssrNalsj08FTfoflCH5nqiqRV4LqMCZx+603wYhVfV54O5XycciPpfriHB/Bf0Y5SRSZ7AOK2qZkZSN0/+ol99hAdFLcHpWlKiMg/64z/B3RoIR4OEubwcD0kfifQeDaxA/4Qv8beU8+qtu3IrMumozu4AOt8mca6Z86p7bshFr1ToTGQTAd+JFpX+JisP4Jrwn5R1m9ivamyybacKRI01UPINiSPArFH3uHCBvaBKH7HsUBzAeiRocg0xHAFDcNdrGCUEZiLHgnEVGqOjz0lq++I9zwwvTdrtiPljPZ2fn4e+sm4UoXoyMbUdurpQ0R2H2/264lMfeOHgLWMTg+pnhP8or969MNyMEhhiybhZnBHx3eoVjo5mCopw80jtoo+xkaRusEqkNuXsJd8rWmCxWY65Sh0wXL2NEugm8oJCYItVyjNPmm8uFUUJLVCJhMJHXuPELpNZfR/4Ft5Vnp9VSHIH3cm3CZeIqXGojQwKtZJXRdg53s7JBfQriL88q8samI4QMJE1KHAQFSAqXgaGKFMfuG+l7hgjlb21j4D/NO01TO77j6qLcnYw+/IoLaSZPaOCwyCLYgJ8/DYy2ZZ2WlYTNGErsD0+yXB7nJzVzXAQdV5aAPq4eXFInRKRKEDlinbG27GJB+IRUpEpYUY1lPrNZ9egD6TE0gF+u9iN4eAe8aMck1U2OoVhmRkbrkqxyo0K26z65VTnHmqTG/WDqYBqY7SJdimQBh4FRCA/9rgj2yxjl9+uVxFhElRd5W4/pwd92VSt6gZj/Nn6ssFxzVm5gSHtoUCZpmzD6cMBIXfZOg55Y4Qg7g9ZJsh0kdjl7+fDry3OpPrzUrGFb+Yx8M6WvPFmlR0PziVhYfcjnGCivsHLfxfqo5wtcQx8lFgrZMQp3sTpRjz073fU+OC/Eyl9HdqnSkTvVk4U+CKZofDhpJDmhaUUxQp7QgRrID93FSHs17PbQJTbGJuMupNkifRdGsQDlEp8P91DSWkzmrxxiEXbK8BNkTm/HlGMcmUk7HrRgJfcUZV0EieGnIGe/11Hp/Cd4ZTt6vmS6CN34xTdtqlp62nhLnl8pbrC1aqcq+0873xoHdYhfHmnpXcpH4boOd20dQUYeD4UbiCme0/BDB0l+7wHPpRqBRbPH2eNh3Ens7PJaxkkTK39fzYkX2hanpWotVRZbDiahCSL3KHThUPwvdPSo0nZfJu989e0bTGSOXRbNMmm9iEZgizVxLbNner4agFMclPLkKMV/wAiD0gUUc4+X9Eh9EqQgdELDfFtg/ncR1GC2+oJKyFxoYAtnYAx5IlOGfN0GbcIJgeqYTk1GhMFTUKn+R9nxC6S3t9ScPDJrRSl74lS18p/JL6LXk1cl08GzpQtv0i0PGSueXqub4lT0eqw0flM7UMX2U1xmBsWmQuzgiRSJpZ3F2tpgqkooe+VZnxomroNyaZTfonl8SEYAuhhP/x53TdxvU9m/oEQDlpdnbzxcUgDqr00KF5Gk1/fhYRlvhbkqPjkenNp/Ui+czb+R8JwWIsHa/IkamThzsWsjxtBL02524jsTIFxreVKbueGy6f6t0gDHk+e0afTFFkmqukz+pKQ/J8YCGmTFMz6d6Mu7uJfB+kPHXZ0SCTIEx1qHnRcrG6Yd5w/p5Bsz+xaxKbfEvl4w+/vescRzo0T+xBZtoMlOlr8F4IuP5H4FzarPx01RtH5EYx3jgNBKxKYykLTU3RqIhi/zyyXOK8Pv+HkHCnrr7Er563L3qUFvjS7RciPTrQI6bAJVIXMPBfia1pSPAigeycQsIgGxCFoBWE/h1z1nOco/0VmbTD4vLL7P6s3vbqr/wETp2BwesK+CZlYYAk0FxpinFiCmKVdicxP9yTIAMPUV0+MsiK4jZobpZKxqUzRFtWU5L0oB7UDQA8En/JyxEm5c6Ex/hRGPiBXXYYPAAq9Vnu/RGrfZumG1X3AlWrK9k+ksVsMoTFlFRWufH6jB2phaa/T++BxxpvQ4l5aXjsUYDg03I0ctpMaprfIaQXZwf746r79aVVIbIiOCMPtyNmnDHVfQ+CAP5SGxc7J2Pf2EK39BuPUk445BUHPk/7LTdoNIg6DCJX11CmU9gy846eBCRIRtaKMURjhNNWrcdCkltjFKzPKWnftHCKLx0aXhVz2pQaz0Mz1gytCwqFDJ3gWbUbQ7iLwDpWMNpbWzL7xxk+5h5ThqgvxU7kdKi20WruJrlSv+GK3vCcFDSP7Hz7VviIK6avusr6NH5GBu+x+neDdMIMuXgy0mUTZ7BjjB69bSg9qbYogO9jOYNE7uBV65i39UYGBj8aRyQc4A3hy3vWvfRlHbodIrcoWxI2RhQnUAXTN838JUJ0Yd0edUiCFV0btpFDCsC4M89kYMyMSOFCnUw8l5OKRn/Gta68GfKNN5urfSm1DEDWGxbpbnvOPy5goqY6SajO7bGpurueCf40rri8nbOwtwgKYCx9YGCtlCR284IP3sp/Fu9AQYSbttTD6Cy38G8kKaCVDiG1dmSZGixIUOaQEmNCv7a6ZwzOd+fHo5o7ZqAXygLLumkazzd42JJAdfHP3fPVgQ62wBGAlmKmNQQno6BUwJcNWvPKeKlnyWxDvhq4ARD/hYA3v7GTTyPS9SlpWnzcFsibnyA4SyLwq93Q0tVuxQpP8Hc670zvUNVZooDMFAtcMD6lQPX6ncmUFhC5KKxTAxGw/CQYjq405U2xMvPLYDIW9r26QJtFRKdeH92j9XYxQIk75ZdzXDvT6bHSH/mbk/eMhgFSi7MKoYYxhd5Bjpqzj+ALYrCs7hAB0VJayhxfMBs8d+WuYE+xFeVUqtvwP4SGxYV1C669yl91EGZXC0yug2o3NlgMF0RWvMWrCGw0LAEMiwVyhn/l6wJKfmgoSXwL+JqeP0WL7u/ONtDWOhZlGCVo/YTQESeilgZRPJv9UOEXO1ObnzdlVVuCupsLEtNuYdUW0rOuVAZ5qA3EFr1YmFbiw8790fzZpAjaJK5KigRNuQ6CGPdggnqS0n1gO86xo6jMCCM94D12MTFaSr8rCLhbkG61BLlkNQPyoT4wIMpHbQ4PHRgSbdgCMBrX60AmFf9JGdRwFxa8e3VViWfSgwq7v8KEjsiDDW0MllLc+NAA0UAj38XPk7GCP1ihFwtnErhiP0nKtf1+2yM7tRff2F+A8y0T3G6kDzHv2ouAgFrS/HIFEc0x8yeTEWzL76UByrWFirtslqUNerW5axEShHlOQ0dznGRziMlwxVnOz19KNd0Kbgk1kZiQMxsiZ0sZTADZ5fJyhNh8BUz4Ssg98HEeuwApreYf4ldYReEtBo9hos7PVGHsJTVsS0f6S2sw4IkQ5KyLCFcnyH4hA7ptvuKp8x2oVUP0tfeTsSNDy1g9kd1AqSVLCca5pEVYIPzkqZ5qF6+SfNuB9RWFa7IDQbkEi9eByv2tRY1lqUpzMk+50dV5GAKWkVSI98agWlc76ucEq07lSYTf6Oppt/HYXAaZ4E01PwAlMiwsA3c5z4QB11ypFELz1F9yFwXJb0qNEI+5gMp9urBtbWUVPb5yQmflhyvksZFAzQMkHmntuuzP+hZNi258v354LaUdkWksw5Urm3F5+Zp0clj3qC5Kz5EJJA3rhpB/g/ufwcEH359ieYoyLQDYyTDwXitJdK/7jwcWMjN52E/poKQ6q+pDf7EgNV2PDPAAihQxI8xNnXhHDz7fV+MJ0iD8vV9NJ/GbvU+vTOJu1yNP0SI6yrpNKf7TMJaSHFs5aShsbi4cqd/nrDlJK561Dr92icKkMF/iakxCaPYnSbVapNrElfFDzBISdBBT/MNErERTCfsoHyQ4K1+xgLtW43jf1nCf1cBctvaDoFn3vMdWHKaugkwE+Uo9kFHw1vyG67LUkCsNrErjzpc1gsQ6zOthdB0YZ1HOtreKu91YkPKJoX5y9zkmechQ3p35ZrLpLEoyUPC6ZNwonp0tfB/ZNcc9sehJpMnoW9QC+BdKNozc7n6oGBE70T3mjG4a8QH0Tp4MARAfut5MwylXi0NjcurTUy7XOydhsxuUYrbsnq02zJY3gSw/ZXcHs03JvrKqiVcALTBPR0K3Z6iU8ibkDtk9fjigCkiqDyG21aEcPUJkarCu/ZxFHnd2HvK8s4LZPehtqYB9HehE7opbmoNIybSCtXJbM/Z0pxCh7UweXwg/fu2HjHjZiWhPf/GJHpvSxB3fXfdMrAl+9zmd5Wb0FWYl9lLd3L8zrzVWvI10fASVmIc97j2CYb3ohVm285Qg13UFGN6f9W+iaT35DoNcplCkUjjk5z6+DrxUQAVNpDkBwbRoZdYwo7QqXQZntYyKp0Cjwe49DvGXrzP1BgHH/yTW5vie1bU4tBnloRROafK6apmBHlv9F60NwsUHoFW06s2oZtAVEZ0xsY08By3gY82rFjrNteiZyJg+qpwF1BGreSFLzJ0JFF3jctTO9Zy5qPaVyLmNF5Oboq9H6pAJRNPYDpHLMW1C6w6p+FitORmZv5OxyutbuhecIBVxo6EtvbSVWuw8fhSiivl0iU9LiL5fGpCEElAVSJA+XlUobuNkEpWn+jZR0G89gl6isnNMVB3eELJMkafZ22fwhGuJyNdfuAwgqxoMx3tzhcbhtdYZX62s+ji/vIAmXlH6Ranc0r3l1o9aXS15FkKO3sbaJJc7WCreTg2sdFbLX6kqe8MAyrB8298P81ipJ1fXOEOBDKq1gO8dy56MRNzuPi35sxMz9HQEHIwy/W8WDK+e3TMWCgw9JDgJajqxkm7RiOzE7NG90GuOdesTFJRYWcHCY39yT0Yr1P6sYdiF+cv6fg2hFOa0aObu+NDf+dEm7x6D5fFRmE42BB7aVRxh4gspVSoWQ5o3axlrz0lFBtd3gjW3bBY/3EkgqLXZFa1lq+avCIDJ5Q0izUdxxdfBs7sPaB/NE1sBX7lqiA/RQ2cxJCR0Lxx7Gw6y7SzRA+mMyZMtksCnk+jg5GA5p/hQ0eAyy99fP882OqytqSSWRP6aBdHrJi+PTAcQM4VUpoJi+LlBizudJvJdU/h8SBevMfGakLM11De03uya8xpv8o2SU6sxnr7BFApBFVeJlRT7Z/AyFDudqu4RovVDSbwjCUgFC6IPgpn3PdskIiBnSzEXzipF2ga2XjBA43QbukKcA9Ya+d5/9bUmQAi5ngNI5RqDOnV14CBoL48i93U1kfhyJJ71Yk0rKc2CERAEuC815EOsnjNAivJbrnoGHvltOiZRUFd93g24X/Oi5So1K/mRqOYMyRuR18zxYuzl36CsmWCiA2mtEeJHGOVrKULfmai942z6CfBCUKZH/I4Lw8I8ZBfA85TkcYfQgoyyqQHrLPaNoBA23UoiVbLjX8Dqg5yYew3alukhSQ5R1jWt6vYD9CvpEWHH7e2twg67fPoBK9GUD3S9rRURdX2BgfYVqQgoyBrXNjDta0iiNXliKJHCiRhIWa/7kcncy/2yLLOHq2nUwNwzkTadNuR21Uwl7nn5S0kjqW8EyPhC3ul4iTxvqFtbJ/ZKZuR9R642qUVmxjJ94MABH0trP9LMNJExAYGMlckxt2GK4QYY7LRg9+tilXrJB6n37Mta+nwnIlEE3uRLi32Mn3sn6tpIkAIa3qlfV1nxzuluezmKjdY9729+GAlc5Lp+ohHchBRplwuCqrmcojadpvN4mDQZOPU3JC6BnemI1h42+hoPZ7TXkb522AcL3qPVadBnW2ixKMjOEKRBMm85YtXLRkfylS3ll2mMY46E0NsdXTeBJ9SiCOQrxuy5BNIz1Yis1POiA5Xq14PHUXBJUtWVt11c9eRG1XpyC18YRNyBIIRKcxPWmeWUXVytJcsPZsJilXu1HO5AM6kQliwGQi2VfJAeM2dyIYjtsiZjkCyBDvB1ljTHapmUW4sVlrsvYX65AzHm59DFWyqC4R7gKnO7/cfAgk3buHEom6Vf/W3fK+6PseI5aqpJuYZPBQzSzkIU8v8TVZU1KqP/+3H72+h2x2GVfPa6SvBZrEyZynevOwv8dR479TI3f1Ph/34GoV6M0tcqd+LCKYbP6djIXE/rQkqWcLtsj+ccup5eAf+xKJHruwI6Xzb3XUOuIvNdcm7xZ07xtxp3vDQixjzj+gvy+aIeoyqsQP5DhFj2d9OtqvDznymaoz0OVA3ai07xu7LI7vxwgFCUna5TshsHnP7oS4mN3YEBnZI5mH0PWdSutd+OYHM78qEFfle+BbtRnDpYqgieLBnmTGcdsZUeEePTpcZPX9wavPa6A0K9g0ufkp1tUw9vABoumPMPfs1dsWGkpZDY+Be2NKB4lzrUFq7fW32693UgdEj0c/dthf9JZioRO+cnPtyu4g+SSTEci9Amd24Sl991euxiAAn9qpDBoiDyhZSJDoBdeYlohxz2Vg/f4FjhHxfLIKLT1OVHJi0yMMjoRfTDSLKN3X5asUAd6IXF054xRmP4KFz1s8kFyxh+GAKhPh5Nf43xp10GN9ZpXPNVLU6NOFjEtXZV18b2WT/ACNlmgACpiCgLbHRnPM/O3zRp+Yg9QX1DOOWCBxvJMnSzYQd+HOOfboqThjHgauK6byR6TE+ob2GtPjczl+DiUxwHIsXzOOsna0gvmSPh4IST8A2lJZLvpQzX5LGf0uoCWC8tCazcYnM4p8oNzubJZd1cM5vARdnP67V4lN7pJM+uUSFsNHu+fc8M1QF6o0t1Us/z8Dt5aQq9g369QBonRODYRb8aTSaCHaUzerPaEtSYN5+izGTHUuICEKUe/76X+wIK1LVnfy1g01gGVpCQHJ4bTdfNQoUu90Z4m40SvHAQTH8Rc1kwtRRtKzt43lMHzKrr/NVw3ZJTsZO238GpX2q7VDqyZ+I8um3MFs7umtZTkySlo+lOKaCMy82nFqzAvXcWtQtleGAtZesDFa1Altz8csKRpZpxHndn5Yq2jmZ3z5644B3ec0AFKzIyzsCXUM++BV1ULgECGqIzGNvznoc4KxaK+eCcL5UNDw0WiQAk3KTYSNypy6XZbh7ot0fg9yGmJTMmb0rEGgkQoStBHnkIZUI+FVH5XsEuduue+Rkn2wCxrQHlJRp5eFqiuALFzCjVwzI+CAgWlqS8YUSk9bUw2pFL5MqzK2W+dpPhERGaHrVvAgGOzLuKzT1nnU3m7TFjxzz0lqVDkogHGPzJmVA3vIXdCcaDp8Zp7Cm0PusdV4+k2ubjqcB2ybPjSqOy+QvTlss3YuNAzsq1XKoFbc1ZLgCTND1cCEpClJpG6zT6t1yD/OGTRDKyGHjKldIVdZMk0x+d1OuDnnRZt9LJ90ReUvgW9FJdwa1rDJ/qkoa4LWp7Gnfr+hgTMRNOXISgoEzamK6sLXVZTO7HOhksrcKisZ3fC7GUgkceChT0Umgs+IrLuxLMlfM7QBvpkTUWUHFGXrMXaVwMNm1c9S0H2tjQ6OM+lHFDiV681lle/coKgZOiTS4+n7B4upPx+RbeWVB4eMRcil4iUIHUTcBQ58xCXtkv21RqdootjRKdbXXMRmiovooxniRje8qcJBceawIt70bVcj2IFHiSUDntAo2h7ZPtOtdqvslPJxbUlEARgPEThKVs6SFw3a2ig/am3ayzHNyIOQgZ3qrpJzvEs8Ep1Xwlh7/vdLJ8Muf45ga+g1zgbAufIPku2fyi321epgvQl7w+mo+ZzrG8DQKJod8XaeudeuSAgmef112ZlK9ySCH6435YgZqlZmLWGdXEAKcH4qrSbFQwUi+1VD3YyMZ31VS578y5nQIoz3D/y+mCYZe7f4ylLUCE377gIvXwinQSzJqPzmDZlWhcruw31Ww5j8qdtRmbEIkqrqCuxh5hAtJ2kVO+HISLA7Sb1742AonNaqcxy6tfuCmVsNXBsIhqi+Deq4XH+GgXi93Ux7Fwhd1VQUYdcMdcZUorE47GU35Q8ywz7HX1giw1L3fYbZqH2W8hwxQlf6qBpKAcrWMmgNbov5N8dFh9XewS6HDBgrjqYKLpFGkCXDTI50+sgsGaSoZClx+JjOEKaQXu+9ewrRrLkb8Rqp2jCLCfellnS5dS0t33WYhe5ivPhoGMdJlyTYf5Vk4rg9RRBbnk7r7QLKB3PUp7dVY9AtPKb3GGchnCzCfV5p0NMuNXTgWI9XxiOdV9lOrYeAUigC0TP/tjnq48W5SHLKy4gzH9+tn17hEDx8Ta/eqE9UMLNTqFHH35MXOVC0AwjktFONTXq9xhAjBbJAISGuYahCXXTbq06kmUvhfrIUhg867xRcjyHQqQhvYnsLNc14Mjzd5tz+67am2Qrp6jdz5Ffkj/3UXvTOgPoum+cjRpQeNtQ4Dq6n12qVOZEmIAtJydIiZxiZHnik8wkh9Psv96Q+ltZFXBCMAXbqeb02TuvjTn5MZuggfD1KHWvNYxqF5RsPpa2JjJMqvfqwHi9EmYJ+usiffvl0WCn8BMR0s6xj9G7eSIzoOQ+YIReuEUFyM2TRB6/Dlh/AyQIcHYXsDZJcpDtB4p6fL2sxD+Ss9GPoeKTD6XiAQRQMEKzoduK4raksZ8u4jC2Wr/Hn7DLB+beikxQfzY8HKOOn0oq9HZ32CYVmK9mAgjT7o1mG8WhO12b8Ud8ZdpTpNDboT/gtBx6JtmwdT23RxPpXsUO/AaAEyKzHxxZWFhwu2rL/8jS5J0Kvut6+prPc+ihZIrvvShW9hgCwdmTsiHOOzYRKLNiNefZqxoAQYb6zXTD0X1kC0S66p5+2IcFOXHXzzoa3OX+3jMCUUjsu904lJ7VxJeXM6bDd36olL2wObsxE293jq7jkWUxkDmAN57Rlqvpdjczneuyjv12GWXhR8EA/JQPiOUAGCgpBADRyiranvpsKDiYpDJZMDnlM64hhRQLVEulHng66twgRnoCWFh7a3sf78Tovee/rG6dPOYKfdvPs8tGtgL5Dv9joiVNFfgrcDO+qR1VSsJ8OLlhhgc7kFoUbSEkEESNOqTOwLrI1MqkPeYqetbgsH5elpKqb+jHiBTBuNGjAAq1OO5LM5mLck5V447UhwYkKEFfNER7h/6ZXW2B6BB2avJfPibYeGwBH/DskD3/c4woQrpnEQu+a6mD9erF+n1dJE8I7p4ni0Ae+g3+v1Cix8bYSMA+VuIjc2B8rD4WAQYKglrcghSkyFu5/Z/LWHEaUDtMCeo85r263Spzkd98vbhlcAdJ5hBF1kPJC2w5iK3zKLs1RgAwl5SUh+OA8ec4uwy7IBc8v8u/z1DIkDzkAtrBq69lNqSoeTkMhsQcDJk/P3R0Ip4sZpAnl9FUyG8U7h5ai+s/5uY7SFfGlgAIQHUQdzTz3hP3mhVEuzFpzWDaPWxN0n0p+OTJgUE499LzIrGjSqxctVl4c19fM2QASyHer7tBgQTXftgULXsZD1brTseoCG2Y+XaAH2jjRJIgPMTqkl1jSLnZBbXUL6j92LtF+R/TRYk9UcrxkrT9qqQNopdr3GNlkfV3h0L8sJDGoj5vpXPUAQLaZC3zl8Yh/50hFmJbOw7fw37wlwgsO0aifCrZGSXKjGSXAuAVoWREq44CyBodpaTPO+DayDj2Rvp6xwxZ96bHsmOV3CPf6GOOwPGwqvp+wJNunSHDc5/ulPdix8IrBpIl+rTm0frpclod1p3vrXvm+KTkTUbjalPgKoEDVExb95Bhl60cZmXbUCOGNOb47C2kbm27jXqZwzUjbPcjjkWcJC4XoIudY85pifMtGayehjGfESwjiOzJYKO1crCvXNnc096IBvjvevyEiy/vRF2+4KnA7PrDvOv8puAXPef3iOG5zWhUJTOeyQFF3Z16b73m7FWN/KlDl6+L1M799ZlYJMrRN61HsfpRrngvhqEJut62CXf0pHx2W464OnNJwnPi4Z54PhkUCXxj3lF3FTgBBoytK6BGP1xgzL6cWs51wg9v/JJ9jmpfKNnYGpjeg6EEHuEIFViuI8G0ta81jfkZv5sEnHNxGpaL8HKNFfVS4zl/T3OQffOQh2sIQWIC5+CGz/d224oS5EGXG7YoGJSFI5cHz751DnLv6Tx2XYcFysWuo4FRI+0lZa+MskDeJMP0zAtAWkpd8cAtdI8u40QuOQCFOruVNZWj2jnU7yI0M/fKn2HPNnUfD8haly06orrEjRu2S2roPkRv0/vx247bz+sNaudOWLr8ZzuNnIlK2hKTg/r4LmRCKWNGzJ5wixr70quzh59sMccniWfkQQgCIiXpOFlzgIqd/fQA9gEUVyuCtO+CZ2IszRohdPYhRpD/FaKjmXWHzKHfvfNqzS2dCyNnCLRex6n6FIti+jM87dtf3YT/q79bdaKIoquwvRmGoKQxKE+9eIfHOoq1eJo8iVEDisMvKwTUDX1KJuVWx/uk3MU818ukgPGsSkDSRkXRx15uGNpekq41W3Pa2brg0rWrXJAK3SI55o5m0i8UPt+FmW4PMyIjbkbyeBX7jUxTCs+SocD9Nedb9HG4RXeRIxJAKCZ6zvrPXou6DeHIjxrNo73BSfwc2R7TQZ32khvjWgt6YHn8k9RXtGDaZ4AXMNyAWLYwmJNX95qPixg4n4CTcoYtTHFoA/oIgnv7tYo3Wzed5cTbSqgC6WQe0tn9rLMYGp57lKD/9wC2zeBU5EQewpPm+Um9Xb87EofFv0t9Nte+ytwEP3WiTiW909NNqJ7zbgvxrLKrCetHULlSY7QSu3FilhM0VkaYvyPxxlV3sPdrK08UG+m5+oNCACQMLz7fAFDO4ln4H8yd81WYWSxyubgPin87kwOW9aej7qc18UKJO3SnQ6Hw/HoIprSpOblFSgEuonzDcM8dDRlgkAT2BnNWnhSsiiQ7IlL+X9jrK9K2BLNzIej0X8pR0iYVPRgjjvY6MlWex1JjdBlD4lGDV8jadHmdniNLdo0NZSZNOY3Fn5VD/BZggA609Z84/hXpgx/Jy2mEat9r/hxK9y59zx6V/YEIC7tA8bSmecp2Gw3/bgdst9lTKx7Z/szPrEY/FkOOeA+ugMon360yYzElLUUQp5PCWDDOVY5jZMi36a8kItHMpGEN1jXvRaCuHe1HCrPnBosYla0QFfNXTLwPYdCeS1/tpltF9zvnR5YLt38Mib1HGBJln2K6uRKA+XLMcjKxXcBwDy4j8eIse4zZ/Gw7nvGkSELQMcAO9F2A5Cle7bWZqyik1/Peo06PpVpD2doujfowYgunl+eOpZhgtCRXKkBAzqFupHwl9MpXa4fz+48iX6nW5JTlFHhogt8AGz4nrhevv/bMTpQBkFMnmK9AqRfQ7793SdfBw+EO/T1osSXJb2tSCnDpuBwEwII0FeqzJbLWr7STix5jxYe77N1yBfW+OJVqd68yojXHfFpu5zABRlCvibnYOMjedYPVHd4iW4K0VTEdgFshMxCLBxCm83P9tBZYc+WBjWDb9fmGHRjBjusR9qXLd6xjxN5yV3i0gjYuoWSXEl9WgwwzWwGxpSr0eUeGQTozJ6QBmEZg/E/okWs707SpV11A3vt3q3dfAPvpqF3Hxjxdqvl9ez3xVANAUWTLVHfKP98kWdfOf/J49e1iDUtjaPxXl3P3KsUdbCGHBMac9CjcjkaL44E7ougLv1V9SMcXZDu0PMVZ/TcTb22oIcWniF4Ihusx5QklajuxpT80EO5SyFVGrGCvBtrQ8kH1iGubYY7OYOOQqR+a3uI8FrhFXNsfhlmgRIDqWVHeM/3SMLxfxQr8gan19SB6uvnB0qnKrih6AW2rm4EPzyP+Us6KAfcoLLxMid/sgxb89TF2BySAc6mA5hcqjvTHbppTjarsA0+2nUN4zsIlZGBMcHSmrrlunq+aCyu1NbhQHBt4WHcoDA9SbPgt5Xauv9L2s5V9lwEGYgHOkvvI8D/Ug6+BfyLtrkELOOOgAG7Lgib6+r4yuYcwdspvk6hx+udhI9+jaC5Fai6PNucdFTcNppkCNAGW0m7S+7x0fM5+1RoVQUjHieRL7qGBlZikIA4rkWVng8eJihwdJOANq8ZYwuCiWImPJX7aWe9ucM48JE2cBauEK/taK3YDeym7aUCFNQvcIt+owDIWSLKTNNPSzdO2YtHAlbuv1DsvyO+6Z3czfAwCbkbBGtcKdEtjzUPnf8QgVoLe9w7T/pK3GGo7qhcMKkz5dwCjPQZ/cC4SMqolKSoUL1Xk4DwSwHuxfoQzVlna616d1fIO3S0/ZcgRfIDu42xGTRffrLPECRUK32tmzzOJnMV433Oojd/zw0q59nQbB0swt9PhgsRIWVmDIkuKul2TWMN54NKLg3j/yUKedP0Zvp9UWZ8+r0Riavn9lk0v3dpJok6vafWUayCsk1ba2eC9nuaX0oGJUTEN2eQUSG7OJ64OQm1Sy4xoiiJPt+SHGFInhs0biP+3gOGozrQvmMt3edAWLpxoP1R/woSIU5Evjk8/e0qqLOxInDRdJxbJAalTpFDcF7QCbMDmNXajgPRxoCrUUDcaUMt3zW5i8Un3+uMPpqjOGk/t1mlSBX+albv7Rkz5zkbhCWUfs268/4itEu83/dcntQKcbQlQ4gkh5ONR+i7rT8F0lki8gvCNXDqHiLbBWVv9IMedi+1ZmQvh6M5RjDo86vj6+agLQf1aVPVvQmcud94HPbxYJiHk+7Gf4MIDgR28ZgUDyZiv8WT2FaO4pL1HAJwcbQAX6reYliRPzG9kqitSRw7dD90Md2LuZshpsqEBgAYqROUDb0vrCJ10sYGn1kvfDMMnggY4vYjX7i2AhqVX3ayQTvBCWAlbAYOIHdrFlPbgICrohoJ7FtlULJuBRbl0oJxVpzkxJjl06kIX/VAf7oLFu76rSHsxhBPjH0qizgrxR/PLbUEveeN/Uwj3ehhAkX4lsOvU0bahrzttHKtCNRgTMBTCHBozeeDAGJlcoIsrWJReuSv+bpleK0ODDs1d9Yz+y1ERJhMWzW7Ztx9SvD44F/ij4aiwpM+QbfetQNeU+qlf7tql98GUgIiRoUSoMgA1DNFvWqTdvMJ2G/QqqMqZvw5zhD3tBDHmcoAalpMyNO5wJaQ+WnzSkGFWqIadRzU6g7VmPbZSAeckUcwTWe3+aGOI+DavLYVPngW/I/QPIA0Kd9pOIVwEtSCsp9mfd6DX94YvwjdvXWCuzzQPT7QoX9upo/Wt1QMAhOSyGKH/H7LCPiHua5urceHbFez4Wj8ThmOn8XU+XtUVtzELmwgUlJ7kwLkvhUyTlOpJYtUGUKswrxrt0g0pEXqGYNfM3EzAGGT7wvFKodIGJJFkCT00K/6yiRAg6X9fK8tTSDE1+TNgc0rgIWDYGhRrDOTd6SacIlGwgiugAb83VF8QOeABQITbyq38l1WiX+KUk7eOZOmOmn0jxF2QRk5vUDo9lHKLtgP3n41v7U6wGcB86S8K4VZLyZv0/tTuWMI6sWUwPi1KFoJOJlF651BVtS3uiOkXFpwL+7+UXoQVjn5vy5j5G3e2LNO2gIC9tBbqkkNqn1rpx+DlU6kD6ZPRwp2XLWr3GHLMhEs0xBhk2aQfI9Wm/FNpuFEzHUeu6KNgVGwdRxKIwLpaiSdfumXJCsqvO0lbBl+kr3wSSl/EghFJkTXsuVfLJDNohG4MPrYv7b++2gkeQWCnmTPwttG0HVuUxsESezi0QMSEMltpkNZmmJRrGfsZaA7pYz8aH94IKAWtrhX2TctCPy5RM6D2rKJTlTvHtZxMpBWZO8zj8BNsA5Z1sB1ImYFFcpX35UrNRjKXHQZVPWf06mqb1oIukzhH0yn8e9C85jeNaLrUc11etq679EuyXKF2AQsXR/GKbPVxgDvNvveeuxgAbmn14abIn7BNoGigRM2dOGunKnMK8fHn8tHL+Q8XJh/lURtpSt6KXVd0re1qgzT9epR5SlVG0wnimsGKy44iRBVxu4H2aZs7tM7y+APKTGFjkik/gMqg6B3nGPitKk6PxqtoPwc6MYLPu6uOVa2lcOIhCPl6+/D9uP0txx3/5uL46YP1vzQJ+6utyOQWSllj8kWUz5DdD5MDC3zx5G3Jev3hBKt/We9/00ouwcAAWefiz+50IKEBGNgaAxisxxUgHm1EkTyn6I80vwA103jgCVuqHwvwQdxcICdX2W9gmDLs6RIkIdor66MB5RExGRPdh09eRV1+Ex2i0m1uaijXAETCud0L+XHxQLV5TNwFy/IhhwGbqxOlz2KXv50FFqJ9RuVKc5xEkWkwSTcIdLeV7YNvHzrLY9qt9EQfdZXgJeK45AxBQq1pPVNev+5BfIXyA0SJc0+CblDfilmoW/KvPY5NBC0IMYbNZc5Sn7pIa+TqK4kM64kyXcV1Cj2ldol6dXK/mIDt+SsKN0Q0Fp+5V4mAYOauDI9GpN2vI85caFlxgnjv04/HHggwHjDnxZ3uN9rmpkt5ns1bux2Sy3e4CEteNbCyNaaNZLuGeSUeDc2cE2T7H1V7O7fnij5fmsdKhwJcr5vHtXC9GtO30GMukuWpuXG0wi8R+yOIbIUKz017LAcWlGqGkNI9IdV61N5tusln8hkMcowLNCaHGZ81Yfft+ygIVTgMFSsMLc8IDscUXpBdG5BW5P2IyXitwjML6gUNMNDBLAQRaPYItuMVtmxwH2kzDq0o/TxaWhLn8TyiZ5Qf0fgV/Nvj5sihFsblwDVloocNUyGxlFJ5GR44SPvrqmG9TqRMMpio0HsQXERFTGWSi+Y/nhxHys6X+tXtmIQGhlPINEJb5FXVUMCUOVd4AZoAb/IZVKsclT+E1BjV5IbwetNeHF3ZCPwK5gFWTLHs2g/Wvup8nC1ThIXtYYhK68XitCbNW88Aq8l3dPJOnpB9na0uIokGh9hDqj9gRWTQ5zCVLzMkabYxK6+Wtcl3m2yYVD44QeIvjYW8P8+IoH7CpXQCYm9V5bbXTGrtNW2sXTB8WB+xOsmxCSBJLBbTfLaikKrBM96ypXRvoQL6ToTr/QP1QAbE123HcyLqcTrIz1xcMFA60NeMV7VN2UGlVZEvMX1WrGwjl/C8FieKPn5KoSL1E0o28d0YlAVcxpqAVtrUc6AN0mE2y+5k8J2ND21drLFCXzCvPUINo0QS0f6Y+ESpRRaXUIwjBUK5oD5t1glw9p2t2c5weA6SHeeeaIUVPzMMHPuH7Fs9IEOFOx8Nj3JxTSw0srutecoqUPot120eoRzbhfu4ChKXQZlvIUNm/uYjtNFVkr2wXoT2mPtbC2b5PKtXbmfd050loorOm+f33yxVPGk7G6Mdu0+6wsJ1i98OSxz/GWLfZG/xRflTyv+jgG0yItxCwKwWo3191CtxZ97JE6xey9YgSbcfPXMS6HC3gPl9O6YYOjexoRiIS0tBzA2tSp94n53Wbau1LdOQIXYkr0piPg2wfMN9A0q06OXwl2qurGsaE4nA9uRKzTR7Xs2Cg77AtKGROYT8PwkfNTmAOrMNR0EEt+MuXeixJknf7GVpZ7htsqv2zJu12SrCUWDkL8jxA20JvJp35D/q7p2VJOCXtQHTX10BZhqZ2nhzOrMgP03gFPPHc6N+UNNCzXxIcrc96qN5m2tY8O1QWb+63KLbYKIa2HooGe0b5wB5Wd9TjGEGsSImuWNIXhC7tqTPy7WVKkZvJV7zposd7OuO0ZkYTdsBV6Y4R5IAjQz1EkdfZP0/rgOD3XhLYtsw40xNBPxXIC2vsLZYGxSfBxWs7KPd/dIkvLCd97xpGJgt2sgg4xe+TAn5jKw+hsPTE5YZTYM1GQPIGNwn11bPNSkIv2m0KQ8MVCLfln1Tnag9wagBVZWnxKVH/Xs5gCx3tcr9wMGzltjhoySedVxt0OhlI+gbBpyi1YYaCf3dYys03TI2XrDI6WGy66v6zPIrc5L2Ayx/4aoom7LcV76Ro62Jzmaa1nbpPsV9zZprec9bzc0tD/ct150IA7BHgyRTDxKj6ckMWY2YYeoUKIpRwnYBPs/egQq06W/DQJFre7vx0TZf4WgCXwqKX2rQJhOdzD2E/1vtSw5aT7zeElCn4V5fCosYrwNciHUiwH4J/vksQSl7KfJZPdnsVCJYmJwvrsjvno5MelFylye7K8a0Yu10GQORxxclB04rjVkZmXPXfONoiOkJIahOom7MKYavowGYu1hVWGZ//mqBP90nPk/LhpKs3tLH+ewipIYgIqYFNX7uKQepeyRgyI4evp+iAi01NQfwDhyMt0CVXa5zrKfpLVKof5Y/0jCPjI+h1c+1nF2vP+jVkDukjyvSrTXpJHXsxMk/VmdAZWAeOZcm7KIyMQL336VV7vRW/8IhX//7R2BphH4oEtn0QVj+EDRLecKie9yhJbki9GRkr/tCza13DmdybdTbkbznIsschHK2v8aH59UGF0I8PQcg/+lAOl8iTkx7NYuNGys1qgNNQ3PhGXd+MGsZTaruEGtPX3MmM7aDGUbMUmmApoArW8P7e/u4q5xi0phoyGLTtsh47G2qWf+ETk1h5LaJCi/PpLhPBqIYHc1rh74x3RkaL+OV9ZBtJfm2l3e8yq46MOc0shWjXNJ0VChXBfYr0/5knvSyDq/f2+unHLyWCL4tPTki4CfSBXMiP6Yt76TJeBN79JfXVvWC0+y074pBD0EHYgL5L7x6kh1TQJ00IaqKMVWv1qey+qkc6fO9hn+5UEUBS3892JRJDUWbdxNZkLGVAPO68UXBWsSNj+QNIaOJokWn1Ku+HKlrOGdHA4fA19G7Izwwhyut+Whn34FUuAOjRFJ6rrAE7Dv/VMMKlWgIUbTcLQkcemFRZKeeMTUCX5N8Y+7lNroYPv0Oxv+P8hpxrP5ZNHJQgJj8hOXK2UJrvIMHTHTNATzVTOlKSwh2gI14Wa6/MAxKRyMn2/LBYh9fCgKl5F54qU1TvVRiZZY1AGnkssAXR/pL73wt6k1sjb19A4BCHAor1mJrz9zxVjQva8MdiTHjOuCec32N1t/o/Vr/EI4UValVmvMbRZJuEK6VN1vKFUlW706ISDa2e6STYlOZ3g/R2wVw7ePoLbJRPz1M0Gss2LXzHwoMq3crdzOCzLlhq7CRDkef3hKdUIM+PNkHezc+1AHdgyaWjKkjTJdvkOCaR1Q0Egy++uUQBJ51srUc6Z42mH2R8jpzKI57T7pBJP9m/VxNltmrhO/wLidO5kpI2QHd1+SL2pscLNE/w5P+vS3UvbKeGDb+XV2rK8gYR7J0ePHBS/PsyANRADS2941AAdcWFcrfHGchY3F9t7E49Y+lnkIZZAdwxmQgz0WdD+iFf33+PIsmsL81oR4O48yk+D/6e6XOssA91f06gYU1/UX5z0Clhwv1vUwQ+5X3DLYmbr+tWwL6JQBZWEF71YkPF5H1C6j/x/3SZ/jeJ3sivTlbo6qJgodhp38/jl0Lui1rIqghj7Fmqwuo/GvOTu7+NfFXBOUhYX2Q29luRtGvKr2gLVgoOvFDQNeZAW75/Avm2S1zUSC4hna2jEMz7E7x3/gO5WA6R5exOUJPLCVWz6hvNxNtU5wXqApIFEDLgjUCdGmXlrwaHwyRIQCFfjut9iHGwBLHDInbIuXfYQujaekjIxc9+/R6Gtek5KasY8y5eJGx3hsDpwojWwdQC9W3rbc4rDWcJ6O3WbFXf4uLx02xwq7/rlPwQl1/r5RjgB7m2uJjFTRn6YnEByZcVl3OXn5AXOSPzDK1+i7+YmTySNmrnk/Hcy6Exg7W1GyLK1MFrw5Z/nblLjGhUxUI7ORnbOSPrfzjYVCjKH/XvUNGxOBcz2G5mjEKWY2qyZWxcqZIioheUyYj4ftLjQxBhoICNIr/NvRIaACy/WUvcVU7wRdBpmrFt+rTljie3+lbN7oydk44vQAmw8/A9lsBQUEik7zeMSiGtRzWSNkj7W/zgbodNfdEqe0LaK3xXUfF78Q0FNRfByFV+gz/ANeV6JIbkNaB+cGr8o8y25HFD2XVBXVSBgwocwJU8zHaBVf1wqtkK41Phi1oDprMrUDQgkVvFwUdAhEIRd0qqQeIa+bTta2GU3OzgVciozdWzh7e31A5ouG3SPH6rO/T0/cTQTgiaB48MtavHXVa4YJgf5QSWrD4sQPJp86xvsc4oRhsF94NvQ3M8JvDV5G5kdtkD4IULFpa+TiwThH1yxgzHJ1PgKDaQRuoxLY4p1I7vahv94PT+wuzBtUpqejkyC4ipNZzGuoZDNAwdFSDLgpBVlXXHPhBa1Whfo6sEb/iNk29Dmkes6+v9qUAdEGGri9dmzobEl7T1XgXJ73nMI9PSLnV3RPYsb9Q7eawz/CBeLvoJENqKwEJUptgfMtTT5kbGfjAE8dhMjkjpjivt+h/4eyJ5Z3E4v6QPO4Kp18dC0pBGCi69AkvDWSlhxX0bALhSa3dzu2SiH4eV8jFhoWjOsAne9v+Az0iVq8r6A7Me6cY7gWc3PSa20WP/b0fAzS1U6MelPJDNCSSGUjyWVtaphcdSxDyAfF9vvYMMwzvCGmpqGiRX2Xy8cfCM2+BkQRL2/t5NClKOx6YCR8d7O+a6OjDqOBnV74HqaiPZKy0beFs7ugtZPnKJduZDgmUKktLGe4KEHTyDnKyuFam15rAlFam7SP3X1CoL4oKu57k0XM8/hFGovWc6MM+LyJrLRQAlaxuZdBewsx9ua2oG6uf+hOQatQLrU6KNDMpN2IjXUOALTwzpAUEv85A1RyvQd4jBEVjw/wccxdBz8TOE8Rr55y2dS3O+IubeQKjzSsYFzoS5fhX4C8UtUj3ATQ8muUh/b71ZyjtQyeeVyInc4hDBu2BAAtAJpkbpYOx+7zSAZ4ggW6BBLizNsy8Io1LU+BTW1eCz7foVudGJ8ABX/Km5tedcMuYyQzL4J3VlysqLGhPLzOmoPJdLn+qGjo/I1+tvTTGa57JY6HqRXaJWNIa0q89hEkMAVAezoTLWI5YYNt3yddfsjbFZbMiJT7gQSCxfCYZCe1cCF/d2sHeNneo5Vi01Zn7w2KVBTFkMY8DujaMLRgviiNrSfaGDIgCClI5pV6nyR1LL6pG0vkloEXYxKIa573u29rC/uisWdRiK8h+eoID9PUkTNSRo3DP+rV7lqWo0RG8HlyxIP5o8oagUh+dnIbfUCk/mB7ECBKiskxTL54l7bgePppJ1iAUEYuX6tOYfaXVIe+3OgHg56aHq2QInOpT/ix5Endd5/2TWaiGOI1PuFvkxDwmhU5VvlQyg+sNRemc7d2d7FTLbxV9Yo7OYOcLZ2n5qJFCDBxeqwDvTK5WjFGWSyqq0pmBrt1UOIiwZNrXUeUmktCWrsuWlU+RzV/H+jF8Zzw+fXMD+Bs+RBciL2cnRw6ADk6IFPO2K22DcmoZQ4STRrSgR2qfAaGjIfCbX5QMQWgrfnzEHKiBvECUlYICCr3LBdOs4oI0nZWmMAFtwaRSw8bjw9lM2/yS9Mi5CLe7WB/kcaQ22rs0kChMBnUdk+G4t30XxBYZD8TTEvzmINx18h4JbpfAECV69GJCCdz6uZYz2lLoK6UpKpbZ8/fWtfWHohDhja2P3E4uu8yBshOR4WPiLVijFZIASN/KadFsVXVIWMV8D8dfPFmKFwFvYBlvP8UIQevl8ojY6jR1IFWDsqIDUYW/hT333lnDy/d9U+DAMya9MluO2R7swXM0s6gf3lmwrR6yJ9M6p63fi1/ZSnbNfGZTHKtDAFdj2QdoG7QgfGCSAUNz7gaQoGEWTXsJjx539B0U2D8EH9tVvgPh2PcGBltUZrJE6Es+DlM7CyPANhwOeGeK1k75sSs8eAfRoSgQIa3eBVHfSZRZod9V003HcwvqBk4DTg+wA+FKm5hM/Z8cj21l5pIom6MwkWtmi6q39u/w7JQwba87hSIJQLIdPYb8L4A3ajNmPUYftbk9cBBwYIsdGziqJjn1uyRWyCzQlIMgqBS4BqWrYGHAc2NKLE9w2/W9f3jOB1uR2KgFsx5IXc0B/0jvkukWf9QAnQZq+JWO8SEDgBY6xKIhaOjfZY/0vP3i11lzaVBRQbNtMl+vk+9I04Qan8PX7vOnZPVzw3SZKBa5RNvtP/XR/CInMF/eaMD/uRRAi9wYyzovlIsXW892vedDRFyapVLWdh1a3uTnSFhGe6EhoR32ho7yknBIuoQZTzq+u6AYKLxLwThsaNTjtbQBxfNrQ2HTi0Vwx5hrAwTGczO6OgHAn3SK7mPJPrdv5Ntu/MXm/MLyvciBplkvthZ1Wj1zwCPnIJuV+suD4VEWTxwZN/eYMMk4Lhswxfat49EfwYdUT0y54cPCHEH6hb2z13/IVvYMoNhxNnbULllOO/5mrkigueRH2OVZnBL7pPdwEGbFfknXr+Hp2QbEKPvj/EKEkyIGKj217WtRPFqsnkd6NOI22mLI7Uv8t75/qavQlhwETYYAWEn6aHC70JAosYOaWUuHQ7lveAsYOrzNTIy53/MqfRWCq4am8G0zTuD5qtxImxlMNqAChvg27WUC80DXy1Z9zib4FATjBHUCaru/xJ6Tjku9zj9FGrNan9C59y3Q/ba0LqV2EMi8pjLaSn6i/JV4XI/QZGtP0rfD6Qw9+D+n59Y+lK1PwrCv4TkwNAJrJ6uDV9He+AAubnq6BEtiuNf5lALiHLLWVuL/CClQoJ1JDfbqT827Akbs3V51z8LoIX1SJfUdCmLxAIXXFuH8nUUbRUxzMgx8ikxd0br3qCWIYeCh5yxg1yv6WmEasRxWZyKEeYq1tGtdHzdpIbZGEl8orBv1/nCuZhKZZVLVIrbhpNEva0KKlAXSxOLqLp6rjopEDUlRxYmKLlnxkjzCXBL3FawMcye9cBUvvHaew7JOtLwwJJLJbqCUEwxPA4xqRPnDl6+EeOJY+wYPSq7MOX2AZdHHUAskNK2nFDGaGPJ7cs393CvbLXCldLN3sPFzrdFPDhlbHp8J5GtFnqd1J7086Pfw5055WmDGSnDAhLHvmgYBZSRznOM37fbnJebxbeat4AhsWSMCSa1znEjGNdIVTEVXNpoDN6W8bRzjktRc8Pbfyv8n2zj5PZ6BRRWYoyYWN2ONuS0wHDUEa+7L1PsBgJgy8h6JY+Mtj0ViDN3F9aH7aKCDzHIl4fNWeMrxesVgxMW3MyrbWoDO32Dctuii1Fvjo9P4v5PZLGJbQMJPdGpPHc2PaJsEpi/b4H6RUKfeefVW6d5HDrj5HWrKDzwKEyivk2xHU6N7WMGWt0g4NbySdytgnEVvDVqzvR3XSRj1wRzhxP8o7X5uBTJX8yfWuH8LbakHYbUB+FQj/3EzIPgrIZuUfCnzUJSFcp0VyC9UByJpC6xwuCx+fNItaD4ZGnXTldUfz5Opz28P/aYNpLQ2zxAx4sSRxN1k3lfsTJ5UR58UPYWUOC3CuQCepgorrnPs7n2Ynt/zZWyO7TOo78gdI7Uea+o2dqjF5FMqGRpdGm9G0ZeCliPbe43f/libFwiJtSpfNXYe2ril+aKsqFbaem+n7kpF8quWdWUMpMx22ukIzozEOC4ERz5pAEthY1pBROG6zJPnOjjM9VdNAVG6gex4SoTbVajfal07f+S+V8FMZ4pZSf+KUz8aAMqRJNNU4wrlhg41SYM9UmrtU8RoAokPIGzcdAeeh2Y3GHy7qAU/kSux+ibma/6yNeUYUE+f7ZrS/sOJ5Z7hLNSBlZSxQJKksFMiqr9YLpdozGehbCZHe6IBCpL94HBzYJRBReRiM64UUXtV+n9AsGm1eQb1Q2sYe7Bgego+qwn5kWwOoOYIV7y8pyayMxC4F7Swly82M/OSvzR2gqcr/JtYFZltfspRbVEiB+qlqajD+RKyR42tx6uHZLLlxVFtofRtTU/ng/gPErLBdZied1IoURC6WsyQsKSUHW9IbQDNfFb4sJxjUycNiu1fuy1Q6OrPw6349P5WZa5KV4zHjInU16wmc+y91M94SuD+8YqZSgxYtqID/BA7wEN4VNsUbg9IINBLnv59sHDNBs2oqaKRpBIIxaMR7sFyvspCrun32QyOfPR4UA6yYMV67UUnaVCJYuWBxLmRkRVchAYolKduhiOAPk1FDy9J0Vj7bc//E7KhuSsQIbg27Tr7G5Ti5EudtnzFq5VMiNoW3gm+pM/BtuWRThE8e5qWHYhM+wIoQo7mlQKNrbmb6I7Ail1Ucgho3DW1aKc8dXwnmhva6f1RyaPPsDZzx1hxUmCNAt81cGhjkqQh/5RLILEifqdyV6UmiLT8QkAkI76FUGTpuOkg+tgunlCo6djCQhhsEtIZNWkPxErjEZ6U51zHFWVKTrcTawnif6aIbz/IESp/Fiu1qwzT2s0DUmhfkEhS7glGn04cunqRG2MKexS4kcn5cr51LaIzp07FOHYndIATPbthVCPg5rL99C0VG5Lv0V/deBvD/oiFZ/Xfrs+xvHGeo4tHlecCenBNFgpMzXY/u/E7ShQ2YE+yUUfcOPR69A2Hu+JKHNlHiCOec975efuMCLv451N2ntgNthkA/MeiE5AjpVAbEYZzH4em8+GBEEOD6srGue0ih/mCCEcm7BKs/7zCPQmDqoXNOtLT7wF+LlG96V9dhbF0PnKUmq8kIM7mWr8l0A+sz+YSH5v7JVWy4/c4Y3OQ1E1EthjJBNrKWEUBY5LRAd2DM09emRYz7rEQdDi6LdL3a/Lcu6t2CXHxpiiD0G7I9stmJlD1JFJ7JfBy36aeCCTGM5LmVqCH81tOl5d5ItK5V8AzOQUIJr8i3l3i9NisqQxGCRKWeKL0t8BEK/xbFT3iK89s9wWimFgqkwEDDTQBm2gxlkxBC/DdftuFcnDDsEoGG7uRRWrHqWr9gSMHpcTW6lzsQ7+Y7folXL5020rmc0n2cY8JSMZcQMNyGMMi5jJgCj8u6yMz08YTo7iW7+31nSmuU1nAy2Z1OTwaQqG8Qj1H7/xLgePfrptNjOv9LqOPT4UrICnkJvD4zMDWjc8KsHyMrSHfMA1xWWdk3GBAB07XqZP1SFRmD6eFaRfZ42/IGIXejFqwtA7kxcNwPHRNdOVb7ii6af0V/zVqJCRYY8HAlX8INycqG7ugy9/+zCxbKBjm5ueofbWPrZc6bvXrg+pPGXxDXfjagWnUE54xbzv5YuPTC42WSeuPJh5EAuqhowlpEITBt2nzGNpQP8xYSN3Pekn2ms8QqS8qgT3YiSHcl79xTWQ76P8hW4NbS0gjvH9wtUQzrkvtIABuR+WAvUX0CBBHpu2vyOIw6zJ+N/WXYXLNh7VaX82gTOJEav1I5xKc4T9rj2tpB7o8Dbinaoc30ardvJEPCYftC9sg8rFXAOnWLbUMpw1imoRFNT94d89tcMFwoDSi6tfCvigGMuK2UR+inwIgInLg86508hAtqX+7z5sH0kYVLuc8+frQbdYHuDtH2PUKUZc3qinsYKclVsQzHWc2Vv3f0vGk8PPVGh8cuBZjAs5OpNLJK9H79aALJH3eycmDmOkUKDHXy2WDBpGhXd2VIORvFy22VTG6PHwY7Cb5BXfSBcN1U9xwOlqngrZbbzyxPs0XM8WJdsIoqzP+w/vTO9TP8H8iCiAAUVKkvcouLLbAjQWu5DJuFO1jA2Ey0V4c6SDd+d3wqMqCJDcbbkQIMa5YZYKHB9HceBQTwgKrd97yKq1JDBPrvBmxGQcFOM8WKQrjfFjdE16Ed8c+wZIWQCKTtqdZ1Av+hc4R3WwdBnj9kUY4gQwovc+dfueDYQZbtNxFc6+XJ700T5m9k/xejhvsb3gxH/4u+RlyW6gx3OjWj0vngWqdOz8YzTc9Dn07zORUu/h2a/e6tsk6JIWoeWCyKMxVfv/O13Nz1m+e7s37sVELCkOQrtURY01BF5XZkSdGUUaM2uiWHcQpgE+d4fynnxlxfnBYiL7IfOU2JLfhfppQhd7I3goqf3J4SbvBBXrpuMC4Q00pmZ8I4XqNEfPNECXTePM7C51o5Mo6c9VufU50Gqrv3oywz6hS6A70+BdV5/5BRkpQmIzx8YEPhGZVpsfMYvR4nQWYActCZC8tyFSlcsz/udVE5NPMRJIDoPsAOtYlmPL8DyiELO3V7/hc8zDqXpkw8hfimX4LXYswU72Nz08etgKs8FGPtVm1r1rc2HDHT8PxFeXZpqc4aojSi0a11CtTHtSTsG2w6Tlfkx8An34sZzodPBGanJqGCW+C4Z/6/3AvQlh4aX16MTS0JrJi6jOjLBNam+SUQ7bGD4g6OWFysQIRg8x+jew/KGIYa3reaQEGzVwrP8LX+9VFs+yH87FnqwYtL1128ofnGIQRaoVU8m3gWtgrNNAY3XzPShHEvEUO5g+HSXrmKO/OErx9vTrGSijCyDVQmqYIUCdrz0TX4dnLBZR1M0zj7dYCJiTECJr49Ni8o5FSyB0TF7XFFQ4uZ3GSeOpuOo9sPVGPKlcnvFlI7V8YjHkV4Tyzgw3NCi4fDix6juwudTo7V7u3vzdVfy3A10IqPX2sb0jhxoTdGK9kBOW3f4PrGvjD6b/2/fnIuTDq6fSD8i3ICoJAoImfkhO9r5qN36tf++XhI4Q/Utg8O2AayK88/yzC7z5DU1SrT7EKFw4nhgbbyuXYsv55Mvf5GIEsCCRi5qaMvfJhkQRgvzJ8OnvpUme30FyIoN1+BAABD8/ljJ4soMiCfL6nOGru+dQQZXcbWmQBw/sxim12XWgQ/I+MVRJBGp+jB3j/kTrUbyKp8rYAM7uT9aq1rCTKhoGGI38+R/yfQFzGI6S/lH7uiuEvZ178aqTpHrorFFatN3kjEnQEB8nHdF9n2GU9vC3n4VX6skVJaV4BGr9QH0dpu8RGf5hFfUw23PG+jD/o6OWZZ8RXDaOf5Na4pAD7TSAoVMPv5ozW/Wz7Si9C326yZgIwXYA8bQI5lpeqbPBSGd+TU8BuxkQUo0ZzgoPt6dAUWhfBXGNLH24K5ZFf0yIade/lE/LttajCaRw5J8FKnXXPcM+IH8xf31aTfQUpWX7/MbLro0SMfwmwO0xWdrczDnZsmt59cktjjB7Rg0qD/qrEYz0t41s8OU/V3yCnpr/Qy5pyVohNfmqUWV1HGvMMyl82OwethP32iy8LMDrJ4nr/SEqFWa6OiJ7a5LLaDrqOfzbgRxLWrMt/+lYouMOpeBTriTfgBWRbKXoPF8KS/xMmGEGtOHUQzMTF/IugQCBjyC6XwQv/aEExw2413T4k3kmeYT0/Hnw61CsyUNy6QJZogGusc/Uxf78bXXQ7I86RXZLmFzK6Mc1EMctAVDzoxNA3vWXdnSnW2OZd6ac+CFa0O2QAuYy6cvc3h0AFO2XLxK7Kv/6gJx+WaCN8E9F2mkG1p2IV/Cf0s7+V29T35ijPb3BwbM6QP2UudAr5wf5KE3xMrsx8KDcEXHp7gRiH/033IaaybW+CZE0Vm6buW7hkmr5dQBDHA7Ny5pMy5LzaetGIfESjk41p3FQumrSSk39cnHfHJhScVDdxc5bonWvf16yB3N/hn1wQcHng81gIDBprI4fV7j3oirTftgklx8hISrm0znoh2aTldHz1/76/uuC0WqjMKYtePPa1WcjLwwZ6124pO1935sRH/jo6X5I51bKq69ythRG8/VnBuBQifWpWLXpbHSm+QC6pRYExknV9PN3ema7fu7kTHXxZiTYeFi2r1enlj9U4dwMTVnJnB5p6Jg6k8sBmR1/bTVUysoU/CJ5Id4g3atpYLCA2EgIZtEZj0oniJ+I3leQe9dmNCDlGUNzPYnQAKwJl/LOp7Yq+zYBxXzbgKaELwhSaQn+L42AQ/swniOpsFN49LS4IImxhR2N5UbzbuSDEzE93kgX0NANhHpyK1T2QlkbXDw4rpctefRXiqLJyrduK5g5vo8XRdtAR7nf+iRWo8YL2htRCx/iAPXBgjCkF0oVQPxCOvKwbmwTJKdYiAEJ0VskziiFdcEiALTwcyAFZ5zw2oZW5W6972/FyeBjoLAnF9bgrj0UBTa59WHWBn4JyNbFuc0oexU1MwNpkvQ2sWpifFfQ2mbqoaMRxMim7F0NwWbsIouJ77NPio94K0xZ8p1B41n2tAak6yiEMEVnx4md7ed0FoYkwmCHMCu9ekCGfRyySCBSUZvE1oSB1rDAuz6JwZp157gRZDnj3pDY5m3aciAsGddIKfRv3yLKRU+GXAAyPYNTS/Py4Pm70KtbfrAg1L4Ut8wBDXvdg8CyUb2gkEAnRybpz0k4wpzHpfyZoEJswzOY+YiCFE8bhIZtXxFcBNxrbWaITg1KXI6p+V7Udu03hCq93zlXSJGZdjUi6krKJhPmfxkrPK5KU796Nb2BA0sxqfK4qNu+4We+ULNM2t8uta9PFfzkCVH6PR2W4LlFhhF1TlQXXam741qjrG6X0fkv4EFERiJXgxj4q2tVs0Zk2AeKKJDxA3moIYY2FLXldQWu0WMOv72OIT04xQNP29Md2uay1bqjJe3KItznVJYDoGnd4NjY+/KPpM5juuOM8q807Z3uwF3+fO9XBVBIvuE9bpzEGwfpFiegeDBqXv//9ukx4n/b7HnxCfmLUgs6umoqZQ2amjEg+OKf2prYlEPNu2C3Qsi70HBnC5eLCDcdFek+mEA0sPMP6sih6kmaVZ2uNqis/uucAvDLvzKH7jMYhWJQdxNFNmkdKV36JpxiR8h0qOyboJFCKgbm/AHAckRXNuWoyIhg8L5ZVmyZZT/QNzKMIA4kPJZnR3pFZL7k/rBq1SNCrT5i9EJj0r7sUii6vn7CiVpVx6z7XXKEQyKs7fp6nH9AUjhCYm5VaQBwJ+6JzqCBVznzBftnNU2peEeYLdxB3J4wT8pj7c3ed+9S4UURxqch3s9pr6eUNbj5ndrCKC/fX+9EgqmGkm81LuE+dUoHs5/uwilsuRrViWUjkUGhiddeDb/oqOQjdkBBmlajHGNzyf4RX+m+jGs0M3QuF0HGnjqs6sUTz3XK3kae1u9Zs0jQDcCqVvKo1zAzs8fbkEhXg8Wyt2D7+Xlnd9ZQ9ixwcBGMa4XfO+cup03kHiv25JDSnDyKP6pbFXRDxTzejXjeokWGPQC3t+TSss+8vv0K6ITxEYqWSFLFmERQ+MD9Dz+TkwptO1IrTWqqqm94kTgD+dPvXhnjeGPRuQskOGskd3W9p5LrkQ6kNuINX4Jy/KjlJuXEu7PnB3Sdwst/MQlut4gYKbjcAazZ9LPacn6LyrXYTgs23b7uISIPim7abqOpVuMd+bxxgEGLKfAzqkdDYJTbJ8Fc/wNZnIvloKOL77cdJVQUwt0v3PCgLyfpzFseAQAvWvRBltbULbyI6yKbIwgdm+3397Pji5ihzYuASahe1LPA5o3noddzh/4aNf03jpKGCfGI7FJrAYYDQcg1qunpkixVqxkDRoOYRTP/VBgZKXDoojmRXTnNLCthJy21u6W5y+MHYKNxFlkfczBF8JnRcs59MNvsk9hvgat/zMTrLurVq3J04XVHPu9R3tMOfLqEHnCZOl4YVzhjM1QggyK1zcVVCyl7EHQkR1pH6X/D81A+xBoqOAnOa0pIi/r934E63rneOzFpCYWFtx1p9Vk3qfH8j1CzLKQfjP/vgzRBSUywWvbol4MJmktfHJDBbnoL0mI2JM/kcg0v8leAN1OMRBIwVFiMoDvK/pirceLHSxTBoLCTCv234Im6/rk3FEBrrBqjI13i2IRSssNYeiguiWFgod5a8NZKJhQCYLb3cIT4AzkH8BVZosI6cB59ucUfjCUbfclT+Zn4pncxyFjhj2/mpeYHfQlp6fDX8J54Ka4YChnJKyV7fIitURi79NdK1fj961bkcikG/cYGk6jhaKnWVnPFndyfFudsfx4gBbHXDHXBWJK2LbXSOSEldcqSslJgregOxV7H69bA87c1heRPa0gq3NtFDICKgnvNmpdvdWgqH2lRmqQAE73313WxHuj3nrz7bibP1iwQrHN0iSM7qKoFDYYdc9ATbbtv7GjV4UAUQfHSAKs2/QxFWwApF1/QOEICz8wDYW6B3OsOeEUck2ej7ivEuNbdJaYSRNCi1AmeBZoJPoH/dDVU7ZakhRiSyaasIQSSYxopIxyM60xcG7jlMjAameTMgLK0YQV9wNBjL5963wyQUI/AIvNcsPQOjTLDfrQcBPp6gptGD2Trg2XbvvkiX+LtnDhtzMaVNDiTU1zHmbT5264wsjyvEThoKDcu0TMlT4euZVUxCL8FvXkoET5yNw2ql5iui2B0tMyaUtucmgGbKHzP6FL/7MmTPxF+Dj6oF5tLXwDZ3AaCwXYVbUYri2prh9w1VyplmdLiV0DNYtOVOWGCGbSdu6QUuo5vwGJTv+N9YzBb8r7c2sOyVAaryz1HEPElhWER2b8ooJ0ObdCrv2XTfFlGSFbSTD2AcIcKsuRLOeNDLM0LL07JUE/cXtfXJCnctTGWUoNhaw0kECJ0kFAMHxWwfo0yhmBXwo7ZVQLjUHdGfLIuldrnjbi+LlY4FJ8xLfSwrNO7+gJOw3gm8Lmq2d5938BHZcVe1Jb8IqaDP/IS2LeMHd2cNaojuUxZWiimJMt04oKez+Ppw91/CQrgyw/mVcisFY8+1f+FeDUydS3Z3g0xgbDxI9sQ1ig+oEFY8oWPg9O3k3V0dE4Tp1Mvizx/yWLn0+GNd4bWvqDMd9aqA4ze3KGu1qNluMNkCALQX1IYqcJOHH99BzTsuvUJ28M5yhjuQeZIKdMtaZLRzHxifDYdBcY+Gn0OZk0L+bMBAvmbqn28QU8LDhT9/MjtDom8NEo3YBmf9+c4+YiFMubP9rsDzvNMNbHM0GsvMKWdn+cs9CdV8QYhij2bxyqt8frT5SO6TsgSGrdo7uzbMIfmk4dGhsoR79LsfDbpJ3L+O3bPElOroXgSAaO6gxW0zTRpwJ93HJU9UmLR8dWrMwfPYEf7ier88vltZftyOwwI3XcvNcl+yrA0PzBv+PUkyKFz9NsqSJ2VGOLOffXecNNNKFjXBe1Xe9+rWeCH7nVLicQTIn0ZpvWf34Z2t25y7Q3kdfdQkk1bBnF33fL0fmSGr0M2kx3DCfBpAe2MojfhAurYKu4Lzdb+RCE+aIDuJk9WwtjeI9Bzc9EItizjJ8+OX5Sn/9Vrf2qESYcedUWMvtoyKnBjhk8FzwXghIjRbjXsTYpYpi5y8qc0fojhOdFcSK7UcU38mpZZlojV+qpbyamTANhCL+Z9KjdDZhByP+WMKc93llQ8HLbE3ztvbs82T5zGqgaJ9qxlVMu1WPdATI0XNUJZhhHknNtjXyxSXnwzr3uEfaVGjLN4uDkB/Esh07yXipKBLB9fCKeKjEaFOEoVG5Buc76gQVmKKgLqTiK9Dps1lm8EFGfSw50YAt4UuYiu0tWageFhyxSoCZMb4o7J6rqKI+10NRbC6yhFZt4Z7EVdodSuYVsZONjs/UEH33u6wR1t/cEjMDa9Ipuqyr+tyy9fnO+OrEj0PmpNvXBcVsyMKhC8ArK4C0H6/gg4cd9TxQH9pNJoeqyv575rxM9UVXmQCMMlBm996PQVIJIp6YwxlSMEg3oTWJDKTePxs3V84pizba8J+PJebh9oplwHPvYBshWOZ8om5MqB9jPyPGqsY4wOS5jkEbx/Isyob/dzf5ln85IE2GX5//JEH52Bf05W1L1BPtWjiKjmIrfCzCl2qtREFg90YjoUqfteWBbUxqVmHBtmSXlJhw/56p0fCzOuoY3R+IG47M9gBaltf2YZ+gP6kyIYhJZf7MlLomsJFLqGG6D8kN45bXRKBZGBmreI7Ra0eoJFVorILAde7bYQVaixy0+HG1KPEz/E9t6WPTXgyBxvA86KLVs6EW/5xNJ+6mA3A3Qubaz4E6S76BJEizQUoS6CDPXThnO+Xm7Lo20Yj3cOx+pP9RSXBtKpUpoulhcRuvvQ6h4/CUu86ijXwOOPxjf7zwGGwXg18c/30fjNWUeVLfp6mYSSubcJr4WstjsIHOtrDq7GBebEDv/n3zQ+dOnPmk7oZ110AlDmwvJdb+t+eJRFD2RcYMGAq9dxLhblrjRSHz4Ej6zd0dx6BB99luRkCObIUEwsv8x4JlGf88bYsxyqsPOVVw4y7XNx9FnCj2uFJDZPkS+YCvIeivU3aMuCuuZPIdTpd7TqMpw4q5SISWGAdQrKEk6S7G0K/5kljSVv9iNpM1hSaHWRF789a7ffrtFr0nxg3xjVjuc9pU92An5l3jOP9uLXlgelYs+jPIYAktvPw40P+5YWnyJQCjiU4+x4sTY8wGpU14n/Q/y1i1fWQ/chNTRMmbdxW6atP+hp32R9EZPSBDj+QfvZ7nyd7S9ybBMYBpgmaT8C0BHwlkmQpQ6Yp/X8o/ohmdT7cPDOrV32HZKoADq6VcDXY0HVWy+Ls/L8Pf8Ws7l2D7+lt6xFhe0qH2xGKZbT1zMRdAH7pmw3C+KmH/EGisquJfuvoEZUNRBdXub97TyFfk+xfk/Ssyebj9lhE7bInYUvaw6DFC7XK4rgk4Eq1n7adUBHz5Qnw0BNd3Ko35Bhnr+9qmHGb/49B1iSmAlssBWzPTzf9tP+J2JWrpnfWibUmOXRYpaxvthnj5EgUz5rfDd8lbotXWjWFIl1eRW1s/wNW5wQ/HYxd4hUNNppK7cl5fESHzBhC3Mr9uYPrUPS0cAIZBjB+Z2ew/ybquKx+DRDthTrZhx1nErO85ZPUsHWtEjQJZwRkvFs3lpuHpWc20ghkZwi+BtPuuZq9Z+eQ/Kvm2nYiiFZtnr1YF/MyzBvgn2jLNpip8yEbwhwF8o/0mwKHVY9h1XnnZbVQD0Kneu6JU75XEQIaAgx97Pu6aNYEQkieHSwu2Zpb8Bhd2/2fq8/2zTojbbgkhsZS87/iYqVY0xeais0gkE39eBVO/FqeHr7JUYqd5FmXEVuouMWrhUVl4P5RAV2xRNynkYwizbAz0050jVyiqCAq9y9/TECBxNLYNiEx9cyQwG+CDfIbyMlplHSuKzzgh8rNcp2ru18v5c7nO3MSFT0x8yzH13WioRmJyZs+zWbsUQqx62YzsYhmZUcd9VB69TZFKic5/cJJpioF0q4XzunPbCVlgGDg3kDzjlz1YpLBJkb3M4tr3KsJvIvtX9ScQED+S6Zh6w1TJFHanJKg02RMpTdSpASX+pxNkAWofCEE85PYnBSBHe3FxfQWUwpXCwpLXkBFqCT+rjmVnjdql2oI9WBp8BD+KDQv/gdrjV67wDZ7fDnUAT4Sz0Ow8pzaY/UzN268fu5G4wtipv8GFqJy2ufX+khiNS/VMV0fyUURJPu9eO/yTU8rVKKE6NXbUD+VVk5zoK+c3iDww0fs9wrPoPvrZcBUuWbxNQ07aDd2UDpts5UW3zDgbxVCrk0KmClvyQy9kbmt4yB4z+VlZyQwSSPkTVFZ+jzkDaZ/aGJbackRqiXB/oiwGljBHn6DRGDhtiAsAC5Us7986EEljqsCzRGAUrGPP5kAjiGwBVs19/yUv/ZFX7yEVYpCIIq9rL2ibepLoNVSLpaLz9INO87dmqWULIQYRVB/MZ0oZ1K8A+143KypjRaF5mbvLHXD8LhR0FyHEzLYdszxHU9qTXfqRRsC6g8JpSNEOp1oJRxV/L8r925JNSU0elcIypAnEpfPROVAoFz4qUZ6Wb4L2vOnxxfVJNHHQJ9G/6nM6yBorpGmcmh6wdLXIrQFp3uOfc1ch5ox2FWFjW87wkARadBVMC+8oGWmeJ5teuGJdHmiimABE4fUKLIg+W1uaYgfG/syw9lrrcaquaf1byfQIjZQwZKGiEon1LGCuVIKv0CNi7CjMlmoE/bm23f0BUeAx84MLfm6Alk3kvag9zyqrp3+HTpKwQosuutrUnL5fLXg8Pd+LFJsKlVFqra0blQVbXPzmgq0K6aF1J/cVWRt0g1w9aX3sRjxiJ4qT/9bLx4MZD0aP1u55ZjOpleFrpJcms+C+f1MQzg/eiNoD/sjk8hRhGLqA8bA8W74S2SFBe/OhsSgUNoRRbB2gTjsq2RdBymw8+QD3JepTZnBPdC0SW7kQIpa/pwMXeewS066M4Irkn7VQBx7fpMzeZT3ywVg7Y9/ZBznzx/Xi3vmsYL2kPS+sNfX9qoIkHr4ekpxFGLgBN24mU4RlyAyCDlGxuyO7A/BLmBGl5n4jqxooGrWfaDciyBeVjOtvttKdQZZVtXskxdxeeeD1LfT02DzrloIVVa6RRWTNZ+GTb98tpom7Nc6kM7qZJnWonS9U1TsvljcfSxKSEATmYTUSrCrXa1w7UlKW1dYCteANdL03RDiceFrFXLsrNf3Vof/wgFCoxeSfucdx1pLv3TEUlxbMkFyC0pcpEMGJtn7tn2fDVH+TAiEVforuVb7vIxExKczU9AnWb4/KEGoDFpArHfKDhoYzcnUqJM6mjDRTF0+AxVZFeWz4Y/Z4+HlcqX6XlWH4C0Gk+Q7WiRN31EgVGJ2sgnwh/eA4RhDuyuqP1Dzqcoiz3l6eLhtDbF4VoBX4J7bbmNuhzaEBzcI7GRhgX6Fi2NVuIJNZGr8KaR4hrkS1pauFOaq1zwaOJmQWjqyR9Puv904O6t/SX8S5pUQH0L4W/lBl/k9rLeYgwGWYGO5YUmGJCfq+alQT84anjt4IFKU+7Xsnkp2nqzRS4+CKEN2KlQCwExeWcgh0gB+uMal3JvzU2TlNG1qPjBb1qtRSW65qP48hyCPwX36HoxZIplGZW41EMsLp7IXSSIo0syOaRvEVTJn8oriiMmIZPQB4NxLsly/OEr/LhNcPxW7wipvPde0unehShCvx9rwp9EdFTBSmIc8d4FzBTcu3b0ZLKfBTs6MeHFsG3nAbm+CjhyEbsex94l+oToTZbD8dw1yv1Ynbo+FcB2juv8VLS3HALSfcyQmySIRX/6J1w0APcXmuBRY3nsUK05lzGPKXOTqSWyAgzHyToO+lkzsDX4PXd/uPOORdM5hh9ROLc8/IqQ1mIZbB8MoWkPww0mQQ3ybXUHpgnzFi5thNQsdTZOA1NM6CjX8MytnPmM1cgU1Ufz6jki1ZcHRR4f1qbR8YkCo842XVlpYC5qV0C4BQZPjmoZPHlfV27GgFlyfDarZAbhHXyGsOcwKRgINgcJPn6VL/djl4wHRt3nODu6crhXa+FFh8XMVhtYc5q88mGO+NePoupHcCOfMkNUhK2AG3IEuKyGbrPLXMrtFFCS95G2UHY4SB4hrddX+xOqGaXsELIUhpq+j920u3yeMDj3cyZBTCkwSXyQG+gG9t8hZt1sFw1tCWCTctx6G67MaToMU1sxJxI3tJuVCe0DUT9at8WTHv4xpOqTJo/Cu4TiWaYDdeuP7bSjBxIhveF0amkf+pbOtT+4u6l5ZdniSqd1JMRoBcLoyA3y4le9xcJWk2oEi9/dCiD3r5I/RybUj9Td/5wlOU9q0gp2uGK9cXBGZ20cwDH4hBVp48v69WbE0Ro0/lXiKru2G9JIt2HZaYSTRocb94LlYrZvXljikgjEIL8sBsagbuFBSUdl1pCSXHZ79jZvQDKfq8I+4YsCnOWrv5GbemhZw85b83O5tCqqfJGxS6IbhnVJxAUy5xBCvk8Ja+GgmcI5b1cQBqoYFxWzN8OBtpgTuy35qW5orZF2gs/R59o7g4iG3fh+x+uyh6yvJpt5kjXpPuqGxNit954TgbSlMrx9nJZkkTSwogwrOYd9CIIoO2CCbScpBzOhYqlPtNiTbP6mjvts5XXs4MBPuM0jSC2f+PtfN0cgoinoFuk2cUyr+uzu3H5U/zvRwxMKx/ISKIrs4Nuif2DTehb/mnkVjato1juHjsFy+zeW8RY/eqG7p6+1/kOZQ/xd8YZkb6y7tB4FTzsRbnKtEjhieg6xtsvyAt5g5NV43k280TverI5FEiqIiSzufaCXtjYpEomkIHrncTVvnrBzdxZ1qRQOdlTdCPKCQHcq0xFKIRhIHFpBx3mxtCPkvuVuNGioS5iRmGIOM7ORgxOZPubLKyvb0Rcx5Q7dsUol6hNSaq8RXxUkFM3NP6vJ0hgPZ3Ua+7YP0hj02bhYVj3AUjFnh02dN+gIssZviubOvE+ldiY4vSpFORjCQBBLxeqPvEodHv4skbGuI1P3o3TrAOo9DMAR+8JzcDRmtOL/NsSJdelvgPmUDWH5BX2NOyDcQOM7SdWOVEskRCbYuwbCZMmzTpUzy80EsyRuK0pTms3DLFnCBkwgvNqmHWdrpRXdxZMDuM/qd9Pv/c0G9ZKF/na9Ggc2akYsW8L+wXJzrGTkWrFQrnxclYuE3MyqdDjZCxtqPBQu8BXveKT8mIhNAweNEhO+M6+BiEDhl1HhsjXp/lxebF2K7mHQyQePbT0aYtZ8v2X9OU3/VjbFWJw+x48JjsIx0/JL5Vzu6MakE5hNjHTuwmPa1uDTGTLSv4OPjtjLe1RoPJ4ep+2wLPPiQnpStDFnDLe3huVw+LjHna54e6FPy8Epw/VCdmFPhkhoUP5icWwDwbbh+H1bcJatXQzXOMfFGsI+wnonqAleiBky/h3Og72h0oXp8JGueRjXDOQxWpLf4GOfRd3i2C8MxTRMA4H23592WJQPUHlnD5axb96I/GO/yc83usRn4OO75e1oimDOE+KNuFO4XxDFdrotwE7onfTciRVeWnAPIuURpeUmt2EsFpFOUGp7wTqDYJajv2Ur3OAjl9yDw5JAZPbvAuYZTxWDkLm8IZW/fcfhOIoSyFJzkVPwMO5xZf39tm8jntAi5NQ0BHWllXahbNF25Y8Ox4J7lA0l+JgaPu9XOngkJ9MsfGLsXB7Gj4CD1sI9jpgHJMD9f12MM4rPIM/bvnMHvhpc9WOT21BdV6Ec8HLiJQVBl8vyIqw+5s122t/yXKfOjsCgUjTrYYZDkjDp1CbMcYc8t254FuehIC/vpz6bCrc0YfK54bXCTCnkGHEHjX0atM1iHS9ftm4WU+yBPRJBgf8HXixjMCxQlegLOTA/vZeFKZk8XUsKaqQ2qDBc/N+CULAOPRancS24459YrEHQ7zZLCgM2r3nuDIW82OqsMk4ItVJI6XhdqnnmY6CvJBsiAnRCpaAevUZeJQnMgLg1e1fxh03u6PQsn4fefoyiUNwqfXVt7ajlgk2Pw7f+8NEYPuuO91Xd3pLfDNYPbLcE2z/23IEnSPCS1z/k9Bm8bl4RvOcEiIYqaMagswgZXg0G4sYW5M3e+9G1g1mg4dbNrCGRNx4DxSsqz0pq9Zb+rYGRdYf8/UTRPCk5uZdMOHaRofMCFVcDYtLBqYc2Y4QaII/Wsq6ITaqIrZi2IeU3yHCEBe/2sZU4j0QoLQSoKfuMkoJCg+1tnP1465StU58IggF1E1diuLgZ4NSygDR0+RniYQoiqr4khhgwP+NkV08mUeoGvtG6uEeVXQH/5QhE/QxsmSzh8rV2RINYkR49t1QzlZXI/wZN/sYMfQJC52dy++LKLLO9PMPDOTkwdhT4N/wBYsQEZHr8bsBUJJGNlqteV8WFp7pmHdefhtVoczQ0x5dUIW3gOQge710SjW/FmNaBo4rghG1cez/oMYzxdTReU/W16FvY20YHfClfT2JBjw1rl+Df/1VzVQuuU59cRK+MKGe7V/1Q9cB7vm3hmeoCMvpUqOayx4CH/NC+yvrr5X1NZ+GXn1l3avgbn5nyXnF8RY3UhQGlJDLWyWtQXILvJa0l9QYu81+AvNROYwwMTTvsTzq9llVRjADfRAkg9SzQe/bopYAXgv7VEsCOZzWyXyJuJ5KfKgD6QCDoKZYbbu0613caLaKtirGh8raeRSYqC9Bj3m4/LwUFn6v/I7TQoOc7ADpiFcwY6uWNaDfoUvh4RJHdMOMpvzWJSMLMwUPpyb/4OYaLsBbnXoEYcB/fxxQmyO+Hmg8rQiIMTXHYi62TCKT+xwMVkAoZGBUgSk8wtXQ72kVrIqYk2PeuSXknXzfxibaf2V4Tx+0hilO94CxrBltGO/k7zteCpQxOFPAqOqMXMD9VkguSOHooi7Ivn/FuBwHMAoChPYxPcROeOP3mRADd5hQHRvD3YYRYZkr//g8VtTG1sJ4ZZRc2QdwYveoL06StufUtAczOMsx9s/ckbfIIW7jzF7+9LfiO9+2CCPPes1hQTYUTa6r/FLjE6FzCuB1FPcZIVcv95wJaHJD9r/gdBnktJGAzgLsWyR+ROMV/owTG5wS+8ItB6XcdH9KYmSWa+qwCNQ/hi0+E8HZ8FPyBqFTqsSqDZNrYuFZAAVt67TQ4XFW7yfCT8ysk+11x35eKdJmkXmX2vCEJsWlZgXt4LaECBqNxrh6GfR+Rt1gmDwJAIqNIcEQWStfw8kNtvO4bVDOJuUXBDjZoyrT90xOyQa3Qe6dL5iFsBZL01toMciDHT1IFpJ7tDRl518Rp2D3f1j+/e9J3DsebD6J4aiOz/5KrsMojgYnidkeRvaF5/l34PlBC/i1K0Zq1SBUimcAPH4d5We/WvSuIhcQtVSRR9JaTiuhf6olUpSaMXveqze3Z1jAL/FOfDpe6nCRCVknP6lwN+yf5n9aswi5HwsyDnul2nGgjiXspbsmFP8ldovVAHwilFtdY8w5VjYJwJNKvjf7a5U8KnVfMRFFkU4ySdXP+IFnsvRIcLblvrDK5nHGDey9lxR4HZNvGLl+W7Grz0/cX/awJ1Qji4b+ex18ipteDc2BAnJTRBstJDy2EZlG+pF4ISz/zxTQSdGYuWN3aDhZhNCqtmFmbdUkaX126V+zj6wC+CoSnP2iYH089pIi4yC4twxjuwL4Qwq9WZsnsEheykKDlHHmxNuCg3Ro4ism8IWEfT8tX2GCZj98XJwmNbuydr9HU0hj4SO9l5E5jtxU/jaIJ44pmVRnmTSZhOse0gx58vHOBi+qjWSvmrOwh/drokW7SQ0VwKuTe1G0qEnAH3+5bjk/Hll64oE6OErUmKDylFW8+PwNgKX4RoYtXc48I9sSl04ocBZFmR/eYUMlVsgjMaw1eC7mzw/VupvfdiG0gLRSTxQw2GyveL24Q2ZnPSplt9RAwA78yaWrAmLgFxWhIaRmD48zAKkGVjz/X460pti9Vv1sZXim7iGL2iSUuz/XxYqODSL9WvrHKZwUlZqfhPY6UsNMOw9wNYx1GsoL6O8sk3i5LYq3bXYnEhI6wcqavVqzMGzhSk1LYGO1OC3QKPG83IVlya20t7eHldfFSZRiEdn2zuAq9lj5Cy0XLJUM2dfvTfXRWMi1g7parOXiXXZMmbYXM5pVl0JplpxTEQ/K9hXTdvl/UzfwhfKpbOSPJ/RgRqRhRlQvlP4XZc+lOB89Nsh6ZWwvmJ8jLh0Kk4bQ323wwYgQ7+CSLsTxpeI4/a8EEd/+QxMybAyqc65fX4rvWIEtIC8+wl2alKZZWwMkeOvm9Y0DmzPJpmzzQQce11m7EjoSvKA22exluP7PCTJ0K8yQMp2jZng4gWStDmTboo+U+4D4VYqbTijzOI3NHqdZW2maD1TdA2YQLzYVE9XvHM3GtW2h1VK60OOKtktqHe0yuRwdsU7NCJ+LpHVJbuGFq/Ew+ssAEyXQJcqRKxcep45tTqqIxrCzb3HqoBF78RLuC6/LanrIBkS8Yv3zBllLo0zJVXBbo1lN5SUxHJ1t3Ue/rpLw1//eYoMK+W1hjOt8kb5Eb3GMdMRaqOWjeCy6TpOYt9LhGIbeUqu1r0d3nqHFJzwdXBosVHPKO7WL4PcLZsDpeasvN2atMiy+PZxmS5ZbxH1Lij7Vw4YXSDXGdo/cbKbKwEsrVa6ojBD9GKSQZXcT+Ds0e9ZCsQNPSVQnKRm46CceLAZQ1QXFu+1Hznttb8VDvSwRAnQUUgdGuIfVW5G89iNC8qg2/OTPYrKK0Lp3xOgEFVNjAgmYBf1+HqRpZFatvDi1Mi+LZHmRP5dE8XvtxloKFsCtMMsUG/4akHA+r3806YtGOn0B2bLV28jG7Lk5QlDth+i+6OkeTRIvSveAM+Ae9vDPo+N3yzQje+2Y4eQlSwK4Po0E2bwSNAIBLQ9qdkdspJzth+GNL6h2cn+k86NVWtNsMW89+5WvmVwJwQx7jHg7lwnccn2qMpJ2WYxAYPE+8JtweBUCpdMLa+y0yTuc+lfBdAjGhBdeWEkqAzC9hLWKtbAqd4qc1BhnRrbLxEeqFX4QjPRE/fkBXW9YoxpeZOcCyzxYdriexRxPjnLHKpkpT/dJ+zb7yAa/J+F9sUoBfUMWYuAJxEGZ7wQtF9sE+AEmXnnqVWiX7zcdIwsjz9clNruiKm3NzRlEpAAZxjSnBdA4QduqJxjSo/H5NgbcrxHYbDl2UEeNOX45FlmOLaEfuf6WAq9dOlIld8i8IjCO1R6argvygbIDrWnrLG53FAXeoiHFrG7MKvL6bQ0LFloBTzVYuvlpI5r1RM16HFFACXWH//ztSFjWguPzksf7UKHbaxIVX1qOGcoxpIsDVwA4I6Ez1YYk+OENMDTUOJsJcKeoGl20dD9VTSqGvb1A3doaJtiDebrqLFXvyRf8MVddLTqkJjvbSqZIQUOvO4Rx/+cPAH6mWleTDjOfqdKVCo6mpD4cux9IdN7gSM2Q5CqksycI8uMJchfEOCMEaDTbgcSG9AO4iQmNHkEfP8jgDC855DtFpXC65DLqPlSY3Aw5fKzSEI0GiOZZBMdAKf/puJMth75mfzRlyZEhM7HMoTgdCrr+njxFkNmgYWmfaG+ajo/dW14C8fAE6xGYP2PWfbG/1JPqpSK0b8Z2rQGCHIHn9Ru4aPjwNPBC6LV5ZOrAutoPOC+lxQ0rQcHocVZhV1WnSIDKcqg6ln5DX9dgJlraILjtwmktXOZ+tTdOECNSWcJqcr1J4OeM/YviBEfET0tsqAo5L/T3WDyGVcOunIz7XRl87tmAGajNTAmGGAgFGjbZMj2hWG+o5LwrcRVVwVzKYa0CqukBiLLlefHvfea/LEc73WSbDcRXUdV9WK0ZkJoeG1ywtLZP7/Ei84p0yeEemBJwYmg6LbVOp+2LkcZJWDzBrCu3IgnwCQIin4lXg9vesNBc26r7CYLrgOo3gVJwH8oeUAqPKOmDvj8dE36yaUKHPYRA9UmQjcC0voEV/krhSp1NkhXCK9w5/zW8l50LfLbu8rux5YH70iqKOL0To+ZEamnp9YV0PqoE8Gz5MXnopNgX+1Azlg5B+hgeRtyuOdpf8YxN3/wHsrsaWljMC6YZmg52oxCx83pgfRJCzWmXBKHrUwJ2Fx0NwifyO0WtDAd84cdhXh3vR9cB9NoJ1OItIpCptbfBUhZQ7QXJNBqQj3v5DpvAQPnyQ2IqYFmcwD6KBq9KVJeBoCBA/Fe6w/xcmnsAWes9XbEb3avRZvotZ+XXxpfzyZxDKq35uFa/uSS+sFTHC7Gur18bJf8ybMeFF8w4Mgs+oUTs1uYEYInCBTKYVnZNidzCxLi5h74GYjB+wxWhjjRbIGEVA1A9mStMBzGJXIxmr6xiSr4NYHFjasyj6ulMcBSGgQjkbV643ayospusIlDXZF1gA7Pu1JWKZ2idbz4GzzuiboiR3qYpH7vIW0qxb2JK4ShvpBtKylTBL5+2sAi0j9nwlej7ZCDjvZKL081RD1briP9MZx/keg2VNbf3GV2FMNq2X3jGtBZlnosYeRvd3nw10Ry++ml1lex1K9bUgZD+thI84c2Jfy0DWsyDFDUTPe3dlpVvdidfG/UJZuEA9wNwjntwx2mTI0clIpSFbb3z20twcYxzrYWrCzFXNaWOl8wqEtk9Piu5tk5wsIu0u3Bxc3+SJ2yBAmE/a/NuOtMuoHz44UcDk1WBnlckjQESfxdcLeN7HrdLqPhQdwpMtDnUOUz2giXcKCnDHHDIE5ZErI+Y/6qd7SkwDIJWeay+6fQ5wt3e8zuWEEFBFS9/Zhc0FfJuSNAOLZxRgz+V1dVA74TzJqPaetEso8hqQaLa1/5tfSWh4ySQPFpa+fq6SPgpESyPtKOz5UPZR+UPo8KqygKKC7ewGbKMmBmxNvj71uZSrTeFY8z5OK1pwb7DjSCnE892v18ZWh8ejh6Fes30dgWWqxiYjQqqxotGlsu7E9vVMP7iGvSepYK65hp8x1hWgDArPWz7i6LtbGa3sZBrdFzj2DdfWJSPsrdkA7yD3PgIHZl/k9o92h/hsKJwpPJy6eG7ZxkfOr0rsz7oOGnDYkG99ua5qrE0oObuZNbUSdW2t/+3BuTpfClAk5ulGuKNQxS0xFgeL095ytmK4MybjDFiNVthll1+01p5RwoCQjJd7GIi9w1RJY6JWkirpcN9RRLvXQcuBScRL1I8F2sxoWjaX/CYTP+CpdI0zst1Y9mcgdwo0tJpbOOkMakeTzjBX7FPqbv0aXgLp2oqBDcCIukHB1ZxhJ5LJeRgzAHhzHYvHH0IJBoZkS6yYDL0laYwMxsm38M/XT6k5HwlwZ3pxWdaeujX4umPHL0ynWaKubWpnOTYuHJZQeQg7kDmJu/9yrB/Fqxe0rjXB3YLukvac+Mt4ctOJovzerlEnuB5o+SYw0zDLtdLxS6v7d9fJw+cc4adqu1Rf7YjhCA/4ryO+Lr/mi26ZtyNY3nrwGPGfsXU/HwRzUnAsvsmjJOdNUcfpZQn0MY+faZW9c0lMYNyOPsZw/9z0TF84cNy6Cl+NVHSBZkRxbD4BkpRVhoxGfQp7JFEHOOku62fbGkr9N+Hx+seXYTOmcgeFxpGflBFdY1EoNevkDOGmXWUX9eekLoR5Rt7A3IWhM03IuVpewLuapQCuFVFgwPUmfw2kvcoC9dLzW+YSdfWHRu0Q3y/yuDVdjZIvMXjUw7yBqexcFzoYnwtYi4hsLBn4eQDtslM/wP1Vjt9seRdHNuwQFIyDnn3H9IysHi5kRaYd0aNFGguk7y4lOsGNlatPQ8v5/73JLs+g2kQv/KdkeASDvremqUHlXQmpuvRrUxCzX725bpzvtkdSukEM1cA8sHZmwoszvFWtSr1iG9Qvej5RW3QTmyiWLicoEFHhNgmInWpCJ2sUMkZiSjklVMe56IF5vMP8Jv2y3dP/dcUDfWLIFaTzs+sqSkKgwfSVp5350JFyhq+N/TPoz8yQw+YqN3cSNUvF9a9hdl59VX42shp8i1ZKGK7Ulo/Ml+VTXJTSBJzGTlETdB+u97lEsopehM64bgm/HjxPXD6dfwbQHt+1U2fGeDl/eZiZAyNMyMAPCxTls8FS5WY5szB/3bd5VyyYIXilMKTnp6LlgGlTwP6nel9zKKvZfra70OuQ/RQZwcCDWgYC4TXbL4NWj4v5+UbF+xE9oMI2peiT2nTRK5gWynp5fh2cLA2wxEUi8Ga1iAcA54C5RRCnxa54rLFTcwiNUk8dATYK1/yAhOBPpSJ2TvxXmZg5PAAPk4s/VqidUlyIu5cUH2AAVTiCuxEEHhEZFF8nGxOVbNmk5jzvXfS5krKFkIllLvl38/oaF22NDl61RB0GzU8gmbT+7D/ohxsR+I4ECMDvaGa5hCnVqu7dOdeIEb1iTl/KhSzVo6bnzkUygu0z6P9YXynYiZ/VVZz6OnyDQfAIAutZCgLu5dbn8SsROqZcINPFUUP3sz7s1NVpABrSwZgCn3IgaSJzobX0fCc8pQCsoNQS1f8P1CivnJDNPow9uE0xBCJP0ldgn4zg+Odxo/A8s+GZMHpQ3ofqcuKbX2p9CYruJPPJJ0FdqR8XyocPhdaR0xcDPq/p+67u7BmZLYTHDyaNhd8LNAIs479cwTmv/n/GyM7G3etsMSXIJppXQQTdrK97Rw5kn5owRYZR/dIJfbdLOnWFovCUsLPjIF2MgxUGexV8nyYAbpiY/3yYvFXl/7KvELBq6TmLy2nnJUm+V/LV39gPkNA2AXXKe8OKNttJYR3Koeb32jEHlcOibKGQbdQz1OQU1+wrXuwxb7TC1VngWlXgRibEjVOIZa7kG+Xbo2Iqga9dYro4Oueq2/tJhOKdLn2cFfp0WRBkYAudhNG1fPP8u2j23jE7mkVwLgHlYCKubws0WzKCPUIgohPbz3eqRuk/9s/LUCjOMr5Dkf+SQ03aqaQfwfNQtNaIv9zqCK0XPu4A8HXsTjjeZoY3IYYnpybqTSeL23rFTLmNRtU8NAp55cUeasSZFCQQyvXuPVD/1Lti+RDkM1ee18zyPm6/NI7E2DvCfaQEMy6DkV29Rm05jfnNRg7yI6OKHvM5+hBtRbVEBBQlpN/E1s+8d8QUoG+GovKiDzPSMby6qu3dsxnYOxGcV3JnO1ANuq3iCzkBhT24q6rWSW7tmrCQ5WYcUXjixFH+B8zdAv+6yJ1NtO/1EaZWZFvkM94/bMPfQqXIVkp7AYiAfLzBcab3E5mf1A7CMHqBToeTPx869+VsRCoZgxALhZ7Dq7pBFvt0+FTPHWVHDAm1IzAUOYhzNXWoDjFm82fJEF68j9ZKYSVCCqdy83ZwMxFJWEGGmgkF/F27l4ifhSdF6iB6u2VFzc15kn/60Ewbo0dRpW40qICPd14RyFa43Wot+Pa8uPtaxfuwZ4+KIHSmpqAjTFURFrOwm5uAsmxkmqTgx2DPJothgHpOEyrkYIewwzOaD+gryNfEecXtM5Ck1XZveEMtjthh1JmxHsoWZ2umfu+J1TxD7YhlkkgbxcLwZeW3wslkqsnFGnaPHGzFgnOPqIKIVLtIlJNsfjsLNvxtBQOkVsv3zLGCK+3jDI6jAFyByEYc4T4pEbmINMKPPYtafu4ivakvDf0Pyio2fPyfLylShZgDgLFNIVBaRlnqinCUNvFXp/FPTiVs2Y1feFlPpC34lrukocbesvGDHRoKWtSpuCBH7DmOz0zOGQaCfQC/xAbKJdTqK1Bpb2Sa/uXBFSplOG4tLicL4a+4xlWNec6GLq5xVqa31Os0ehDK9wn2nKMKsGi5jMGtGvN0+WffaTrFcEqY4FdryPlqghu+2qI1s9otoVJQRoPswApDFY1gJikRoFzNXB2gDK/ApAbReKlM3u2yl6C8Oy2nOGj+QLb/OEf7SOEuBTpb7+xmda1GR2xvAvNJJRDZ+mbYJz4QQD2CXUrEdCWsztdHLiBTkYm3tVuBynELLNiNo2E8p2RP1Xo1sr2I4FlgjaWi2ocSKHKUS9gKyoRelCksoY3+Oz9bPX7hs27o6LIZLs6ttJExqC9SrtL32DrqhSgkEFAez5byJlVr4iZRbrhIJbpS/1+BFyOCMntZ1gV2FKx90PKWJPlvme3Cb1R/x9kzrlCa2zcIRPr8xUGbmaLhAAbn+W47XSlgbGtJj069hvlu1ccNDeUXAKtF1KB2hIWOd5BibChmcbPPMJrxEBvmnQxfz8148ct5KrzYfhYy0h+UqNxV7a2+lI+SfFWKDb9kzOMxNQapofKPlmwXY73UlQWep1Dj+FPkhPH9FcRUwl8W0X5ZT2QGBn3cG27UhvI27bG8Kxjhy3GAAxEBgPajvbgyxdrzPUBfhzI9HazBUprnvy9nothU5t/KdGE84mKTVk5i7MZr//Zs2O6RkNE8+n4RIKlYjcaAneb8/wraPwgLMPIQTsexgAhzdfAipgmycjnOH7QCx0lxJHfTWMXsx96Fp0aL49gYsaKklhPEWJY75NJZqctTeeZWTUsf7F9SLQmtgQSmLRqlWFJoluyOaznZn6NP91aR/yFAukI33ykuVY4AV+cBIKzxnf14tgPhPxYNet5VpjzAiy4Zx9KEWc6Ne3ZAyCixUkNm0/bRGSi46rdand80KF0bez2/5F8jV2xZr0ly+C+rJgRFJPKuNsv9cei36fwh8FBA6HXgcL5LjzT/HBYARCvPbZp47oo1xa32IjncrPMpEJlrzaFaTaQMPA1Dm27lDCEur4GPA+ThA+XmLtrvFX3z1OQDYhulP4xyS2KJg7bb3YRqHukgCBO+ngmGopPVUKiGCXqRIJg3uu14c/4JeS/A+JfbvwVhhn4+0bCIsE65On0jtabv7OrA6tuYsi67JhEJXsDH2TPXh226cNS11dFc7VCXYCqK3vaeGC0eLhfnLnmfeif/m4mVjmqEYlpxyA8KRZ87Hj8d7Fvk6bwXnna7kMsybZ9fPTmFS50O/V52XR1EE0qRo5OGIVKIwJtaqtodmTPg9WkXccZWMQnkxJhRMchL2GonX0XwbpfCZIZvQTTHZqEKL1pTZs0DaKXPv5rNPD41KHwCdl16p3bJNsdCKuvnwVJ8lKMSiokNIkzaWJVmvJ1WixUGwW/baRhC7+MdcVETJPzLBz+dhCWJ9NtgvUnt7DK1kmB84rFLWdG1wlpS915H3WcgkGVeKZG82oVSeKnO+hFNRLoyBGaBmlWvmGQmQmIF0+SaH4HK/eUGHEvjC8pOFIwW2MVI3MTFeyTHNakOjliM+TDct8Lb2lfvO947WLazjtxtGVaZbSMsNaVJm4dgVXdDefgVTsOjD8MkV7aigPUrJ1YC3OAxTNnzB7bnjKq0VhpjTS09MDz6AjCzHNgCTtga0gRpbjExWFIPq9HFKpVJebv7O8py9x4gREwSmKZ73VqPMHkS0YG/pxIjr+QQKTU71kX7AZm72fSOf4BWTDQndDmScsSEhhbATB21dCs90nilVrYk2AiIZXxtwcIl4MFZ2roNflV9sIfK5N8pZssPYRUFDNuzBY9qRhPf0GvvesqGaFDesNz7+U+d2/oau43ypAnkxo/W0Ra7xMHj/p+jyIfbxYGJI2E2s519XdK+Db0GBcof82wP7eaFF/HLTwpoPiOh+G3QVXlQcc8YsAgrASJpi5tdRU14bcz4T7rexD2sg4miiJFtVlayiC/j1A3JeOEqOMRU9bid5s+bcJIGiBw6KpkGgYwcMw8SZZRS+NDpUfx9MgC4aequV1/c9OHQIC3+0bCdsLxW/kkhE0LQWz/LNRvJSLai0sN9B4NeWWZrCY509TY2qQ3waypoXpNa/7xkTk8CPrt7ohVUesTAx3daDqwOx5icWYdiTVjdwI2NSBLqiDJKtuJugfT5Vrx6ByicdMvqD5W5maOZutKzhUWK0qN3BMbiVcV36xb8OHH0LJwcBCICs7kilQ9ygPwbe2ktzu2B1CM/on5ML5WiUrmjW/ThiBYoPBtr/wmYTJMhRSTcNuHLuDB9JnFLITvqSWn8iu3VKCNJzWDH9Y+3oS+ZVMiuXTIUxOb0GuztPwLo4MKxFS/HHEm1EvMH8M4Fr6CzUxUNEHM2nsrYaZClJ2fZsnyAjBF9OYxT49g6skm95dKoZiOxG4lNseobah39Moj2rK1I1hgxv9P6ro9G28aR4yFgXgX6gpuFRxXmoChDDFJNULxW+079WeVKIF7g0gagIpi2HVHSSEt6rBgLw1EWuPG0wvdLAQGLrKXj7bYnUIR2o+ypKswi1YnFcD1nuAP3ksZR21xRzGhz4fCczsT3STdC7dHbdpLPXhvkKJiT9V4zhtW7tgvX0DY0RUwEcUv3tyqOYN6yEeZZzfCdHGXHDFiQZjW3f37viD1AcpTiRZiCbRDYyPe+59l8mfliKrGzRqqSIgGcOeaiuJ5iGm+iwp/V68grgNqDHa6Ic1/62exDoFXvK+bXAH58XytH0EOVv9LToN3T2Dhjkns8nCSTuS2UkQGKL2yhZAV/XmiGmKLeSG3r/SuiM6oOrWAsCY0eKBfA+5KMOFBF3ZuV2zzozqs+IIYV2vwys62ImcRy/BBGn6pQzwBUiFBPVES4mHLiRmiDhoF1AMm568Q9Bm2PM1B7D4u1rGSYnBju5jf9T2VyKA3bLX00IISFJVLhGd1gd14Skm1g9imm/+4kndWuUaap8eTjZZK1e">
            <a:extLst>
              <a:ext uri="{FF2B5EF4-FFF2-40B4-BE49-F238E27FC236}">
                <a16:creationId xmlns:a16="http://schemas.microsoft.com/office/drawing/2014/main" id="{D7159B31-B245-9740-3AE9-E237202E9516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280134" y="1790353"/>
            <a:ext cx="3567369" cy="4565963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71" name="btfpColumnIndicatorGroup2">
            <a:extLst>
              <a:ext uri="{FF2B5EF4-FFF2-40B4-BE49-F238E27FC236}">
                <a16:creationId xmlns:a16="http://schemas.microsoft.com/office/drawing/2014/main" id="{AD2520D1-B3C1-6F58-22C6-273580920B9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9" name="btfpColumnGapBlocker435457">
              <a:extLst>
                <a:ext uri="{FF2B5EF4-FFF2-40B4-BE49-F238E27FC236}">
                  <a16:creationId xmlns:a16="http://schemas.microsoft.com/office/drawing/2014/main" id="{B36DA8DD-E8C5-53D8-23F0-8F492FADB1C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534296">
              <a:extLst>
                <a:ext uri="{FF2B5EF4-FFF2-40B4-BE49-F238E27FC236}">
                  <a16:creationId xmlns:a16="http://schemas.microsoft.com/office/drawing/2014/main" id="{7D098742-2549-C1E8-BD56-38D02A1CD28C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806491">
              <a:extLst>
                <a:ext uri="{FF2B5EF4-FFF2-40B4-BE49-F238E27FC236}">
                  <a16:creationId xmlns:a16="http://schemas.microsoft.com/office/drawing/2014/main" id="{BBBB9492-4D21-8919-299E-8C3CE9D85E4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btfpColumnIndicator402204">
              <a:extLst>
                <a:ext uri="{FF2B5EF4-FFF2-40B4-BE49-F238E27FC236}">
                  <a16:creationId xmlns:a16="http://schemas.microsoft.com/office/drawing/2014/main" id="{08162B55-BD26-F6A8-322A-B2C78F9F04C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btfpColumnGapBlocker538500">
              <a:extLst>
                <a:ext uri="{FF2B5EF4-FFF2-40B4-BE49-F238E27FC236}">
                  <a16:creationId xmlns:a16="http://schemas.microsoft.com/office/drawing/2014/main" id="{21A72A34-DC54-1F0D-C93F-B072617C3697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9" name="btfpColumnIndicator794448">
              <a:extLst>
                <a:ext uri="{FF2B5EF4-FFF2-40B4-BE49-F238E27FC236}">
                  <a16:creationId xmlns:a16="http://schemas.microsoft.com/office/drawing/2014/main" id="{F218792E-0FC2-FB62-75D2-4842DE713A9A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btfpColumnIndicator978168">
              <a:extLst>
                <a:ext uri="{FF2B5EF4-FFF2-40B4-BE49-F238E27FC236}">
                  <a16:creationId xmlns:a16="http://schemas.microsoft.com/office/drawing/2014/main" id="{84B9AE13-AF44-A09C-2AE9-7ADDA2BBD326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btfpColumnGapBlocker663752">
              <a:extLst>
                <a:ext uri="{FF2B5EF4-FFF2-40B4-BE49-F238E27FC236}">
                  <a16:creationId xmlns:a16="http://schemas.microsoft.com/office/drawing/2014/main" id="{0696C4D1-FA58-2B28-9B91-03A460BC52E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449272">
              <a:extLst>
                <a:ext uri="{FF2B5EF4-FFF2-40B4-BE49-F238E27FC236}">
                  <a16:creationId xmlns:a16="http://schemas.microsoft.com/office/drawing/2014/main" id="{DD788D4B-23B9-36C4-C51A-E52E02A10D51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566759">
              <a:extLst>
                <a:ext uri="{FF2B5EF4-FFF2-40B4-BE49-F238E27FC236}">
                  <a16:creationId xmlns:a16="http://schemas.microsoft.com/office/drawing/2014/main" id="{F5B5FB24-DAC2-A1D4-E4C3-75504873B6A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ColumnIndicatorGroup1">
            <a:extLst>
              <a:ext uri="{FF2B5EF4-FFF2-40B4-BE49-F238E27FC236}">
                <a16:creationId xmlns:a16="http://schemas.microsoft.com/office/drawing/2014/main" id="{72D53C33-A4B1-8823-DA39-59F7C947233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8" name="btfpColumnGapBlocker289408">
              <a:extLst>
                <a:ext uri="{FF2B5EF4-FFF2-40B4-BE49-F238E27FC236}">
                  <a16:creationId xmlns:a16="http://schemas.microsoft.com/office/drawing/2014/main" id="{2AD48DD9-070B-0A6E-4776-D430E9A6601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599684">
              <a:extLst>
                <a:ext uri="{FF2B5EF4-FFF2-40B4-BE49-F238E27FC236}">
                  <a16:creationId xmlns:a16="http://schemas.microsoft.com/office/drawing/2014/main" id="{2B1D210B-E49D-F456-9F74-21C6635FB13F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btfpColumnIndicator388373">
              <a:extLst>
                <a:ext uri="{FF2B5EF4-FFF2-40B4-BE49-F238E27FC236}">
                  <a16:creationId xmlns:a16="http://schemas.microsoft.com/office/drawing/2014/main" id="{83BC2C88-F057-AD2E-289F-40AF7EAF6AE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592454">
              <a:extLst>
                <a:ext uri="{FF2B5EF4-FFF2-40B4-BE49-F238E27FC236}">
                  <a16:creationId xmlns:a16="http://schemas.microsoft.com/office/drawing/2014/main" id="{D39B1E0E-5521-4BF6-0C5A-3E78AA871194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btfpColumnGapBlocker579045">
              <a:extLst>
                <a:ext uri="{FF2B5EF4-FFF2-40B4-BE49-F238E27FC236}">
                  <a16:creationId xmlns:a16="http://schemas.microsoft.com/office/drawing/2014/main" id="{211DD573-675F-93E0-5F3B-7A3F5F4117E8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7" name="btfpColumnIndicator143838">
              <a:extLst>
                <a:ext uri="{FF2B5EF4-FFF2-40B4-BE49-F238E27FC236}">
                  <a16:creationId xmlns:a16="http://schemas.microsoft.com/office/drawing/2014/main" id="{0B4C59BA-C364-C5B3-97A9-C0F736A68E9D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btfpColumnIndicator711550">
              <a:extLst>
                <a:ext uri="{FF2B5EF4-FFF2-40B4-BE49-F238E27FC236}">
                  <a16:creationId xmlns:a16="http://schemas.microsoft.com/office/drawing/2014/main" id="{D221CB47-9804-3A96-546C-B080C1C64966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752623">
              <a:extLst>
                <a:ext uri="{FF2B5EF4-FFF2-40B4-BE49-F238E27FC236}">
                  <a16:creationId xmlns:a16="http://schemas.microsoft.com/office/drawing/2014/main" id="{07E227B7-0E61-123F-5C4C-0B01B528AFE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738779">
              <a:extLst>
                <a:ext uri="{FF2B5EF4-FFF2-40B4-BE49-F238E27FC236}">
                  <a16:creationId xmlns:a16="http://schemas.microsoft.com/office/drawing/2014/main" id="{2F6A16AA-8C72-C57C-B032-8D911293D23D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383631">
              <a:extLst>
                <a:ext uri="{FF2B5EF4-FFF2-40B4-BE49-F238E27FC236}">
                  <a16:creationId xmlns:a16="http://schemas.microsoft.com/office/drawing/2014/main" id="{AA4B5CA7-415E-D7DA-C0D4-27645191E3A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 for Hunza G to work more with nano and micro tier influencers – these are more cost-effective and typically have a more engaged following vs. big accounts</a:t>
            </a:r>
          </a:p>
        </p:txBody>
      </p:sp>
      <p:sp>
        <p:nvSpPr>
          <p:cNvPr id="18" name="btfpNotesBox364169">
            <a:extLst>
              <a:ext uri="{FF2B5EF4-FFF2-40B4-BE49-F238E27FC236}">
                <a16:creationId xmlns:a16="http://schemas.microsoft.com/office/drawing/2014/main" id="{FF06EDAB-6D6C-4685-8CF5-2B9F2B35044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20868" y="6330978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>
                <a:solidFill>
                  <a:srgbClr val="000000"/>
                </a:solidFill>
              </a:rPr>
              <a:t>Note: Mega-influencers are those with &gt;1M followers; Macro-influencers are those with 500K – 1M followers; Mid-tier influencers with 50K - 500K followers; Micro-influencers have 10K - 50K followers; Nano-influencers have 1K - 10K followers; *HypeAuditor reports top 9 category segments for a brand</a:t>
            </a:r>
            <a:r>
              <a:rPr lang="en-US" sz="800" dirty="0"/>
              <a:t> </a:t>
            </a:r>
            <a:r>
              <a:rPr lang="en-US" sz="800" dirty="0">
                <a:solidFill>
                  <a:srgbClr val="000000"/>
                </a:solidFill>
              </a:rPr>
              <a:t>| Source: </a:t>
            </a:r>
            <a:r>
              <a:rPr lang="en-US" sz="800" dirty="0"/>
              <a:t>HypeAuditor, </a:t>
            </a:r>
            <a:r>
              <a:rPr lang="en-US" sz="800" dirty="0">
                <a:solidFill>
                  <a:srgbClr val="000000"/>
                </a:solidFill>
              </a:rPr>
              <a:t>last 12 months data (Jan’23-Dec’23)</a:t>
            </a:r>
            <a:endParaRPr lang="en-US" sz="800" dirty="0"/>
          </a:p>
        </p:txBody>
      </p:sp>
      <p:sp>
        <p:nvSpPr>
          <p:cNvPr id="43" name="Rectangle 4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RnYMvsTGriUv9bwF16ksc2OgjD1UaA3yKymrT+905o9XoZJFGz2vvL2aejoga4gfLAoewhqxUTCI7TYvtQzx62QSB8I+wEnMwQAva7KFIvGSw8jMQ9PASplS8z9RJJBzRxnCAkiNpbBFPYQfuvqLo+MfVYpxlMMgbIjPt85pTf2Iuz+SPxo4kcHJwvZCz6/sBab4zIyhqDr4oCgyt4PIOW82vwpfbfKAcpUwBBWigYGdFPLABMPFcI/ZyFbFd4B1A4GZmALAqFRN7HFyUruL7xZy8MRTT4BKgz8v8axZaY/Zx6jCIdTe8hB/93k5suA4sncBjxDkFeW6yfu29NH9EogyOdbOYJQGigCfzlEmwzC2dPAinaKLGKLrs2aytegMQDeLM+7K3zMwMIZswrX1enWfgwO7c0KAW2Z6ZIsW8j0zGgB4OEc3r3Ncck5V57C0A24jwDbQmnF8JBq8Dvh7ZjRF+cvNk6i6orddEnjnVl6UV7U2hvPYTKyDYN+/HqQ5wlSDDdGCfPCqdIcGcLKRlC4M08Q6aCdapWSbxI5wGPE/GZwckIg5ldfjg3O3RBcp5yhSajzRh+Ht7LRPUu6CM0K+A44d/aVUxKGSzCeox7VylWoFsd0/69jmX9Uzc3+JB4dkhQKt+j12fLEXB65ZBwFnMyqg/ZP1+3OAzIk+I1KIEb9BigNTJSJYlhoYRelehBFQp5Bg10SVeHBUioDwTGEnWdFXenN5caIZuhoyamT1/kFwR969JUN4VlLSQC3nnyoSvMF3KlY6HMlfzQepm0Voq7/6UTq4hM52ALsgnrLfeuu5iCZcEjtK3dJED0TC+lMqvpMIAr2oMmMZj1qu7Ami7ooejPkAc6njVfMu9ZAK0q/9gfgznSMCnaiZe491er94UMcHMbwQh67bKWyrGJcHlCSdRm6T+/4thiPBzviv477cYMLdm3Zy72+5fxTrtTvuhVtNmaNZHsK+AIRizbR9Cw/iqhuMQcTCYOR0w/LnBX3VUAN2lFRJJSCEYAJNjAtLNNDRO6AVrHFESR4lTZkpek/FUWEXM/Akdjmns0MJzR0TbuZVDhvoLx2wvocJz8epdnVW3llIDg774Qi/W5lzK6ccRUPSNMyxONYzkF8hg652ljUvwO55C2zpuYgxL2TJBBHIXttD1MMkcF0T+47n2pwfYZOUlK8v03OpFHwmDN+DW9k6rw54bPm7WAWCddhZ/U2A9Kkd0m4rZfQvt56lBbs67VJFsUlN9haCaKyx/SfdLNhtAdP7Vx2IXuNfKUuVq2i7n1gO0YXn9V7LL9BHHvt7qWBH+/kXHSZjv0thvebmGki2eaLEnV29idXWvXi0ljY+dTZ1kw+zJ3ArlwfMnDNJEWyYC6BgJEX6BlVzsH8kKm2q3iHEJo6HvU5NJwp399C0glBp0aYes/ZNiWiZNglxlQXY271oUF3Emur9ka9GfwBpHqAoeMn/McIKmU/Q5TW2YJK7Cj0zbDwtQh3pMjm8YKAG4uUPOKmsyb/NSaz1jWGQfKhwJLhGzgEua2/anUSWRA0D/YJE8PwzpATTYp8IYo0HMDv+7ycuSCVJ6Is6Y5lEw5/4PlohFojYanp6GAdkYbk3o+J2bonWz3BOBhKLj38zNqrZh6dsAXYwM446QWXcDRk9Fe3bvxuAboZBX+acBCBKr0KgawIBwJGJ1ah/fhFuiVfd6xhbnVrsxLHcu83UN0yDuITelwZBDJAVWDen/zUwcxBXaj5i/d32sbYxfZra36Ihgzv0XaHu+VyYQKOZeDlddxOFjzWKSY+8MP4z+7LVXgysqQD7kYSbKlIevsmAaYGxuf2lUk2/fQ556KFh70k17Bi1hgy0vGKGt+plSCuQayiuGOaNAJ5OL0P0hbAMaQ+W3ByNM11P2mW/n3BJW5aV6GnDb+eSdDScgIwB/Sxm9U3W7cZ4gM2aFHV8o2Wu/v/C14eDWw4n9IUK6+Q4l1nwaE2LiltZuKcHCAESp/mlCb/ulJoA5HvU1ejzSmIoR78qRYxMCpSUzisEmuK4Q80xcrijIlmQhVmcKarfbLranApWZCbhj5hFRXoOBxfgBqPcBV0xP1/yotW9mvt9NLwDiXdpvhGn/RRZ60JXv0iHYDOn+AIziycC6o3BcduA3OmowHbhlFIjG7wvhPobXeFuVrMklvwc4XYoxKVQdyk8xYZG3DoYjmMca9gVgo6gqYRvlqE4Indsllu5FDywsCOouAGmdgQLSmk9AyA+KVnbO3RYfD7eNDUBYqUun+gqbOtR/7WqG1gbDEARBLfCoTSTwPlt7kimhMc6FKZMsi3KXuIkQhzTXxiZuDhOhS0MEfUS8JrBtTuwuZycKdLKL21wmDAyMwq0nYH0XR33czb+Q5euCtpQ9Bwc0O6iaY8UcuYI2S8Sy317pVWRzD4YOJdKix6tEwDqMHO00I2f0q4/NFTjWQGJIKZXyH+sjKdKR54ZSb1KwIm3Uj4gE5rDRW4O0UG9e8joJjqPuPw2YEBkYzP5n05OQjVFFTQVnC91OqHth34WOpd4LrlER4bMgQNYYjReMGGu/H0VlWuUVMWSEoTOVE06IvN5uoSBdASMnbu6iD00JoeueqLJn0+J5pdVAolubKQDEypRkiFpjz8Vu6B/O+FzuYEkqft4oWsFtxYRR842cxln+LUhzSWvvZkGStIndwSdtnskJrdSG+s9oliom5KhGNxUJfoD5jMhOiqfsllIFE5wHTriWWXB9BQN3Jm2qUY/16mrBa6S2ktyptMz+RX8psxVEABpsXm3IBDb6zhD6FXjFFZVwzhHAOqSLmdCyaLUfGiB+ji8Cy4NL7bOpagg2kQNmoegIvwUW//9szQPuVPqEMSAocASU4wgPwrJG7ywW+Ze3a1JFx2hATx+9I6bmmRAhFISuPu2JMisSDlTSQmEVAVH2KSnL18iQiOcpAeG4aJEm5MoxNbga23vLG7U9Mbp4pJFt/zdh2BZju+uJnADRs7FPCdd54sOedaF/AQESUqeSM1aq6x8KDGhbyrypwNyII7b5qdA7Vnhu44wtV+KPje7nViFN6rbSwNAb18MjblaULm2QOlA8QeuKLLNc99MoBjcyJb1UgYKyus3tSmhe4UMEwCkeWv9ojaHjJnyR4lGnWyelekIyWiEAapszn11pnUA0q6PtNj8GJTDD/hn3uFEhe+E9ConboACPCxfoj3d1E02XBGNyR1NWvJtrbxbjoI5HpRd2D0NwyFp8Uk7NMJg0QRGLWMEEIsceplitoB55x+/9+SaSG2pdPumW6limCepQ7n8EXQIZDlIHRfYfngqYXLr/ruwyo8d+5lAjVN+9g0fEfEgsBXtz8voAkd8xB/lgj4EnIIV2tPF5uZa8q91k4V1+U4TGy3Guyfcp/EGx8v+uvaDors6dIUxmwbc63S2A61qmiuRe6+wJv3ojenXwdcNONZMOWBMBg4Tr7ecK6+58lAoP2LopprK4JFZE1R0SHj6d3Giv3kAvFJIu5hOYMfVcAH5EGAagJLPcfFLIk6sV7Z+g6pXKGMxMMJVdQ/q9c3f6XUpKlIjFA9iQrYvV/9GBbQOTXqU39+L2+TrKfD5m6BpjqyiNoFtUJkRVIe0ijg6Qwdlti94Wiiu+KQa15Ash/t1lndBfH+INhJ+qaFFU3VFYA9z3/+s4dmDs1CQe9Ev+mVEQx7X+zioNIX5zTwjDNy/Tla3QHvFl1kH7Bx5DGsPOz91JSApQPLvOBM4+2bZfSl0Xurj7s6leTsA4g3+qQyBO4V7OnYTr3euz4HVOT3cPTK+8oX7uFviKFcW5KUYMtNSsyoHo/kYdINL/nHofc3V7u6Iy1V8AEdaAMcS5EeEDqoMUC1s8LG+5Ocd4bQxAMhMeb0vjqvCAkAFpWk1Np+T03azT63xDdvyKqWCKDWsivCM6n6jhhJ8cntlGYd83Klk9HJcr5+KX6bXZll63+xiiZk+4mtiYNMznyIU/SPVu/JwX6bKUXyXBP57v7ouj0r0mAaHfMReNKHJ4WSgbkoojoudO+AxYfgVpvfG8h56bIvfEnLCc9Ma0bPvVizc/bL0PD8fSe8NrKmX3Bz28BBHoIflU8+Zz80RVI/oXHZ8M01XAfByrire3EixdvnpL91iteqNIAnC8QefF5McrOuUXdA5wBQSJk1RLJTfIpBLCwWGKsbUIEr8fmm+W/Pd+oY09S8yrc31+qd63AJhP5Bdla8Zqr3e3g/xj8/4UP366plFNtC5e40h2CtawmlZ6JwAz0RPRtwzQ+m6ie/80K8lhO5HDK2x8yKrav9Q8HYldd12xu2bik+GffmD22KT+3naoym94T5ueuXqrOIjFFnPocbT/4vDtUrmYesWHNTI6nwzpvoIPZRMu+3oSDXyDGgULG+Vk+8dfqyjvpjzGdkH9L73LtIkigOsdlYPhaFgHeIFKoLGmErHjvpv16tc8VoMoYLavf2k2hgrDih+ny8KuAl0HFOfvTIPdBYSVhaqeEQqp0PrPRUVhWhdkhAkpHSR7DvHmGPGPU46EoFs+2C6b3i0d3j41YzoGwr50sTN8MhGzqzdzxGCJDH+Gzxa5JU70OPDOKj3vOdaYk39VGo7zPXSXz+qZGZH5XjfXhIb8nYUjsO24AMljqnA6HGwi/g5MTjeR1IhtvSyJCmiuHQm679PhEayK0qhzUQML4oytZgNdI2FmnlEpMDcht7dSeycM2qoXy4cHtT0jSWO5CJGsL4bP4RwUNenoLDyoaV4xAm6wRWvB79UcSZ9SMCwJ6+3BrcJ5xs/91yKfnNQi87rXytKUpBi+l8G4DjKkMrCQrrq9dA5IrkXuAFxiu2yuvWeMYFl4iak0XicM67l5T931mM8Zpn0zpSjLYtswqRLuOucVui4rvrA9Wyb7KT72aVb1e+EcNPLfmyxCfPxPTjFY6f0HTHn7jG5653GlcefbTBzuTrtOKHHKkPZ0vTUyYGs7miyLSSREqb9CeuOtvEKSmGNhny4uLRwwdchHRz0g4w5OpEpg4yDmDOup8SvRyZ0ucbxQUoK5Weql6hEpbjygjetQ5So4YdHr+NOY2ei4KpmP4hv1nZW59DbfZ3R8v7mRMtow19SEOYfL91ySe0CIATBa6nhGU2EPY+CpfAAWyK7uJJ1GH31mXjG0SqbMiXeQMbZROfd419kbudvqvCbi9mZY1A3WWflt/7PgZ7276nDd+7X/C6yYOoFFBzXSSS6rSgC6UjoblkXX8d0LtqRaBGX09F2IK2VYOYpTLu5U+5PJ9+t9HZ9HAnAbIB8nHaPNNmxVL4lqETfj7ud+87+uZFIsijH+URkvxVrECaNrVwLlTvgwB4bYXKXx//Ygz9M4ojkTAe7tZ6aFnLg/TfxEYWG7vJ5r39PI8f+LTi7KOp3mI8bD+Q57iqdpghkZpCDRWbRttj07YQljc6bevgyc03opCcyahVKq9w+cQIf4cNf7Ck+psqCOIIkO9YdSMBOkY1cGtmYySVUxw86nnVevqelUNOl9zu2HTP2R8n6cjb88NnaxsoXD5Q/L+Lt90qzzzYXgfSos3AXnnBieLVnslu3V5Q5YBtkjXPiqYs0pwoTBrnmcj0QVIHh5ipVY6JGWEIMzu3fva8jiIlrSKROouzP0wS5RF5/PohmuNTm4SpqZ7G0O3FPMbXDJtAln2o+xoRcO+qYeGra1btI7hh1aL1KjdBEU+ulck1CjZMswIYxm084DILIANOEL6CBzg/p9RpOaybf5UONm2p/vh8CYQRLmbfzpxKbkw9mO+odIh3yb4r0nkcl7MjpgSmyDg68R7HOHJPxuBT+RjtHp9Qx6bFgPsjaI87G/WF4WRDKra5jaBht4lbQR3WFFqE7V6ehFoiQybPpsG2Ms1Q9TcAV1LG1MVeCf+2t+sB93OEydMutQ/K/W6pltXH1T/Dl3qog586Y1524RpmoIz6ih+KgYjKO8HlZmfVMNc6vZHjBXH/+IWRdQu/VT6PPhL7NuHMFxfNTcdq1Bd81MJMi6/YWg1Z4Scfs7FdT+LmEWmT5hjhU6YlgiqHT4VbX31LV49JLRegiPUNUCKoayGYyaFZ6hDBkAOvBjDdzH6wavMUehQY+WASKnXmIFzy+SEYhDceEE0jpLiPYUc9251xzBRDIO9y22dA4kwmDU+OszGGZdOzOd6EC2LkPAmnfZITeJ1WSC4ROpOfVNlT5+fWEhVzyHCbZq1psBWuPe0JJaIoMfK6yJCVlAid7foPHTZBFcmQtsfB4lXyiPTI47kZzxQVRhmhi1+Cwr6udpJoav1NG7nKdNrvrM/1Kkzyhe/NIEmItDv0TQq2v473HLORtj+hT4BrIrJjCJWEmfjfSyqwU0m/l5d67UX3XMcC9MkAYh2BiAl1LSLR9sBbPq3uBqF3/OLBJ5/eSvK98gByTiqibStk2uLhgCjxI8JLVlmqkcSmw39zs732UzyAUqSRZ98zgvqCztbvNZ+Z6mVKf8TIodMrEzKs7GYF6PfppYkli/+WCW4yi+OxWiLpkP0p2JOumbmrBwNXPfT95ZWM2/9yPrYu84KWrYziW2TIme5QfPs1Bda7fGKgRyuy9gwSBKsFbF/FQ8M13MVxXbpbJO7M4m2YEFpdbk1zKYydfNS33R4NMeUvkRDmI2u0uWpX7VHqDL6RfRW/KmW9nADM9faOT/UEwjY5AzNQtwikweRu5aXKTXooJ/rTha+MUFWxzRYsuvAc52Wszp2iPlU4DrxEGkKAv5wEE2yJiKK5ome4gjSQvH+vhY0oS1RguUr350E6OFakYJstE/EcS8q8Kzv09vw5i58qZiidiazfpDgAFRVaJ0sgOFAzM9U/gSSONI3jnC/n80zIyguxAsw1Wa2cf0nDE6Sb+UY5OdEEMKPaddPItC3uU4nmNtmPkpEqI2JOLlz793XKwHyrcnewlcBxJviTXl/xj9rOH1OGW+scFN0Iw9rS+8f6k2CPjyCV2JQtZvMm5zUp88pzlzJHzysY7A22p93llV5VKrpvRK4Rh4fMLEl48t+EEJBPnQJrs23+Fa89s1hCblHjykZBXAZ0E+sGeG/NqqlVi8PLj6q8w35lCd5bPLv/2UNTSerjICtsSXDf9MGyEYV4SbTZnTLewYFkKXpzPKz4GT6717fvuZns+g4KyWfnKVPcbYHEGr4bbz6SE0QSdJO2OSu1uJgHxiNt7bV72LknLqSvMXhHwOF6D22C3T3MwrMxKh37KGnzYDLLzoUBpvDWLukRmEUmQk7oqcC7ODF64zzI1JVgEH0sh5dsgdAKy/vRi3lQr2dfv9jUoqql5+IWW1ubsWfCidAH7muFyCNSYfMTgMnXh7D6CdEICjO6i1LDeI6RFkg8OymnxzaQnfOoGYOQeRkmoQGzxCPOWwoCpWMPg74jhbe873FwdyLRmM33ri0bAU+UWPvti/acGMBEU5EjYWfO/goKVoDmiqtHuVouvGdfO6ukMVKP7kPTtaoV9rrS/hYA828IG0oiaDCItnb2lNOWQsqcEfnGSGgek9csLKV7CoaMj3MclrWhpyamQ+zTt8fhoYkA2z4kQRJ7iflkl0AxqZnGjcimKZFvWI4yRlndCePVHsTV7a7MgpVz6b1EwqrBIC3WBs3iWJjyLkN3GYvntsVuwKJAoW5wdfOLdu03syfUYi3t1NtLqhoKL50DqR81Z/Mm0fjB9q+SZDBFyl2r7PaYVE2bC9n0Du1SUcuc31QHOFJSOjo02K7UCX6RHXI01pblEh3XObHHm5Ym+PI/jxxqcq2Uau8ARfqVnR1tOIdBv1+J2/5Hi5IalLE84jky5cLyhhmK95oOUawF/qlHgNST2ZaWUCji2WwHtuSNfzAdLeQE9KAkuJ2umoPfjYqsCuE1gh2jiXYjDhaeGWlIYhv50Z9m2CGKzAjFru10T6Wafw1EqbK47Y97ZYOI4sYQ4o0beP2RRN5KQdQeTZe/d7fFxln+UTGevjlJqbRD+j3gy5f+HLLcZIdjVQ3RviCpj2h5WMybRQgFOP5u9xUt3iHJOimVTVIcDXMtvVPBkT06lwR5OQrjnz0ZspX6ziBTsBalNPiSlFPaE9GO5Zn9uBbosYEs3Voff/mWKW3KnaA1wHyFG8IukGB06abfzJ3OOjYpi7hUS4UUGx8B0IUbaVDYdkfniUpcvc381To+KZVCN46D+tXpEaHIGI1x9lsq0A/OPWBqD6cEU7FTLHFeYMf98jA5ptx0B+DNsAF26UtF5TCq9TmpMHKc4EKGQG3wO4KAU0FeDEvUqNmJFsdVH7ujaI9jMW1cqUtN/6eQGI06M5pqgoKipP447xmpiS6Ax6o73j2xZlNerca+AfeOaB4RlZoean4a2aiZiQqD8pMh4qfbyOb+UXwa4nqatX2k2j8icj/cyMYVALeXKkTukBy6hq5JA/i/30qV/BZpxvcyLCjjKSzwuvB7UQ51922q8/Ko/1fpHhZByLgSCD4BnUc4Y6UOK28SnzDAmf/qqI4YyrmFJZKUBFKpTBQ4rZgyS0G5DMGg+55honD9dWrSDTntgCgZ5GF35G0fHONrWs95R+bgOVIrizXuT7OzsAxqDLds/EPJE2VWltqJCOICPY6jAaQMCWFAeQF3EYHBkJ6Df+jW/i0ILwl0KNSVqxpCHOff8hVR77KgK6wlde/RGgnlGvyas8lbEay8tZxXoapbZHnbWgeqasT5tXsZfhSkhrvb1+yfyjF6LhV0J/m2KVMFwJYtZTJm3BEXPy3oG39cVp7nSLWWYG0obLIHPiXYmzqoN0FSC7Ccjx7HCpv7+MPWHyoLMhXFC+VDBnnq7lFAVVpak1OFmq4RljIEmY7T5JlhBRd//fgNBock5SBxg6iYNKwRL2h/IqPfp6Av4GZkRnvq3pnKWMvgE1c7vDsnhbJ/bzYyajGWcV0Y9UdVEWWbTF9aYlNBM/xRhnqfDmEDWmGmb4jzkDA8hvrxXFrGkfmCVYptpj+p6jjKBGBtnoK5+hJnm04kIPVAGR1z9YPsitnFR4u2eOOShAC4/dUwbFts5zNM9YNqfNMxQDeNkzPhhO4i9qDc4N2mfuI65fDAv6bC/862UQeiP53d9SmnN72qGYur9LeES0XW16C8Fp8sNE7vDb4/ypUl6fOxmHDBhT8zus3ix9OYXBN6q7nlZ8yu67fug8LUILAtun5PWYofpJdUElJld/Jr4JP4JBKsRcb0mOt+hwlRIr2pyczOYTw6ItvpwXQvL/zp0D8vuW5tsQIbOAoEjjHdwoje5HS1OzFbN7hLGLfq6amYPHkB4djQW+vCV0Me6cPERjRxFt4wBuK86JChRHIHWUzGQmX7ypH4LimSpdpXiZU21NkXb77/97g8D7Ht59o8dt2BO14QsGjcGPeLTu6tY1XdUFGp6wbLAicJ/TwxRbeicPMOe7Ye6D7X0UcWNEgEJy5CqBaUcEba72QStQy+/kG307GfCJv4mU8EwtPESdOAdydxSw8gmMAkofIw+01yuC5cmP6PmG9lSYOj+UEqZbeILnLLuc7hhr555+djG3eA8odw641LYMTFNuiC5M0eypjlbMVSbWN7YgAEr54ghi4uLale8taAMB2XpwJQbuQIesGDbYYKHI3QuFov0go+U2sKntMj8DqeJBVtiecJ4sV+Pyi2gkVAvqctq6hV0SBP9vFFHaz69cURuxPot7ZH6gJ2LtAQjcMLAY5TNBd1algkvBpvvm8NNzTewMLt83VrnbaFUFFn5fZkoCfF1QjYEX9H+UlB9WTX4Zjt5eoakHJutdmpL4UxidUA/TEF8TVhqU12hXaHH0fSQLE4y7Hq7bNtlGKZH1+Cq8uk7UjN1X7/vvOL1uviDbONqq4xcg1nk35BhSuCaWx6RMwZMADPBfwJCS/zJ/HlNiWdV+K0mep+pR+CLXBIXbbtp6Hi1KJWeVI5a8JVztjWbdIfISdbknE/Z1OByyaWcCtiqBEPn9IaCBwfEDo/iTV3nNC0OybXGBRW7+Odw4JXW9PcVg3kPYyicunFq5ypvCimLSf4RMzCx8mu6AqtJB+Vb9AFn+uBR/H4PeV7A0QIL7dozgt5DKQVKRD99MEz0OmqmJTsD1FlL9bL+M1ahpO6OwhS5ez87+hXMMAF/b06GLobcls1G6ybQtjSYOxfrbz55E6WhXrnFShVL/SkpLyaj4P898qGqcNuyWvF6cj9IdGQDeGmZbEHMPWbCKqTAn8x/PwkuCqxxUqLyznTkAyPJL0UzCAYyjZ49lT2C45UP5QBaf0w2mdHPqNJpyIgO7+sZ+G4WXbp5aWrP6wq13ukpM3RgX60dXedhVcjT6pBf5rY2QDBjfQK3RSbV6hrAWQXfUTSc/iWiQZvOiTjigmPyo5eV3dkjmHW80dnD5TcuDH9ApcTLiaDzPN06CcPCm7SJ+H5DqaegrpZKka6dcPkbyQY3au3odiMhiw847OShad6FZ704aM2UMvIBsUU/p3f7e2abNK87b9oeuadCBZDJ+5SBT4mcLQ7ezd3lcCkP3lmv4REWCzFh17Bv/FS3nyQKxcZNqgDH8jSwQI4HAhcJxP9QHJ+Al8JG0c+8eNRnjq2hoHHPcRHGOP7CcQuuceEx6LZp/rm69ROWK1QnZGpiaQ7ljeOb5LkC7MPvMAtYnizqO0RBM4Lrw9pFNq0IrOsrlQrLolN0pvodsX5KUqcjGxDuUvt/69qESpChpC/3VjAU704gVz6LdgNwIZa0tUSPdqgPMVBFiPTWc+bPXGfb5iRvUFLeO3wci0kedAD2FeE/JYB+fhfbnD10MkyE3c7jpsY93tNzhQ23tJC8QLf44/zXt/z85SXfU3q2X/B5atmhWmArPVD2GPufO0fdgIT/HfMdTtO3UF3juQqh0Zzzb+PrWi4o/GpW05ftBBk6Pl+kKuUEnX8m3b141xSxgaDg8S/sZnNSjBUyvhzI25yr8I9PaMahdzKNOdh/K+nHc1huCRIXHgoXl69IZV4Gc3r2NF6L13nrCWrLyYglwofe4I2/+kX8OEqZPFiJUtvkZTbnZF307LCnJNsBTlmqaNu3J4yEEe4FJw4ax/zgdw4pp2sbIOCQWmgHmUc/STaawgdgLxwYf7vSY1Le+sh1X1B1zI/j2CtG+3pHcZXNQmFTB+NRTeBE3xr2yy6qLjtwfBOojRrxxuOkAfTDtnf8x5zI4Djhephayd8rKIGH9CAAernr8aJrysFsCdr23g46lv7mxuE0c3g/LGMkS/vALxJV2xH6UwJkExxyw+6Gsb0fyJeQVG57fZo0YvhPaCjbwdZSSZ3RdDeNK4WJ+9mg6koepME4fCMRIVVwHMKnbqL8gEXiUZtEjgDHHMWRFr0JSwSI9iTzm88n91TIQ9SepfqoMUnkw5UvbhrQBcriYFpYZDCEHfJMdmaP9qDFW+4Z9IC8d/tOCW486fSnkPGnlv+qzi6sAFFGbw86syZjgN0A8IpPhqLmbKfqgqeAAT3XOYzBpIN6gBhwlPOu7dRu/CbAjS4bvTVsFOmZr6bdYiL3O2KnOFqjcl+Arw1mjR+x5kjKqP68+mfdC78H8maeMkrucxJt3g8ZNMhzOJHsqxPUfMrwKjxTne/ZA+UirSpyJ5wsZe+oX09omGTwP8kBTXQgjDpY7i7tpGRlqeVqykRwMd339+nJ5HP/hue6cZGCswlPbDaoc8NmjOdChSIYPaMC+YvK/CKQL9DXP8oMSLjYzwHyz/4MlXYV6pxPV6SSZ1LWAZnKCyxe+EX3Jj/fE+nUe3lI9VFGjJe8U17Q9sW582x7YhZyECj49rpNuzKIWgZxidGVF4naJziqG7JPE3eWKTb7GgS6+tfzGVHK8LM6N5PfjbbfoKCCec77psYmpb1pNDUvlw1tq9L4mtg/rwRRPhTU2HSi5CJQo6JVr51Zrcco6WAfAPyMnN2TCIota4OzcVzbDrN7jr25Ed5T3wiN4esmnlAhIv2A5OtQnY0M7hTTN/u9t7PibiPEgED54R7qg7aw4rCDF0xfUfGXzZeIDiJrFUAz7Vwx7kKebZxKPsT6oV3/8Uabge8FGL8DN/nqIhiZaLOOKoYS3JXiWzwmKiWSrljFrq9hEfIBc+gAXvvi8xgfsseuHYTZ7KPsc9J69AvoWzogdZGkxmU3OUoCsYxvVhqQ//xyTz+b2UpnGDV1wSBIaVg6vXTs8gAJbUNgijrq2w6O6Xgd1m317umS1tkSJG4a5nloCnwExVYYYRkTD59NhSwdWtNxe9Lp8bc64c7IcwZjuNRyRUmx0icG5wU0sMYWcNLMczH1RHWAE5Z6nUQbpGCIpbNBtmya8fvRfugVabCxHv1zvgJJdPfWmeyhlXdIgoqQJln6B48/eeg5T3deCZZY2FPMDp8zp0gnP0akkwuScyY7JR/AyH5sUnubx0qYXzo6bDEebZuRUy921s/pFz9kPf/5aOsNcyf/9Rrd2kkk1Z7q7jmVcdjsVA6C96xEeEoQtqSTvcxXqknXx0UPE+bPi+WgtZqfXYxZe/tYxBd5GMuTQcIgHNXMr3iMNC/f17AQ82lgCQO71kSKSniCNgyi94dEaqVZVQwvhIuSQVHz1d8vJYKDhqMWQC039NSXpeEswLugenUE56Ml0ywTeNZee01bm7EG3MSR+mHDXkRl6PbGbKuvTyGH1yW6O85S4ftP3tDG5AI34Tql2v/ws208tK1VKkvtBNb1OgH3TGH/51NcN4CpriSn++9zmuUuyJCyyB3YTSASSULcYF0U7H/ram7eRnApjAq9qTTLVfQpwQc88ns69p8A7j5L+5mXcBmznk1QMRzoPIBPtPjnHRa/CniuFY2FAvjjAhBAo+7aJ7uopUKRkDrVcfyN0QBgc4m7WAnwPIqVsRsfNeT0UVVz0x6R4KLUK6FeQi5bJAmtGik9A1GxOFs8v40CK9E/Nbpp9ipLjjNzNeuwKOSRh9HSxiGnb0nzOHsgcHBSKpz+fB3Lb+rZpde4VK10/Fz6P6HF4K9LeYbfnnsh/m0kRuo8RXI80R2EdUkU2O8VmTbcAXTkc0DBa+vTZZRsF/sdkTfU0W+Lli71eC+vv8RVdWtaOyXcIjgViAMJXB4+yalNhM49jwI6KEqwdUG/x9alCSbwFql5Md36sENXvHptBYoBNXUuCGbQiAFs+ncvHVpKPsSQe3IuhXcWwB/HJSZ781d5oIQmik3zL49H+/q0DHOLueMZDKtYRlof5wXe+Ndq3/jBeoJaQwlc/eFtU2La0C0pL2+GS2s6tlPdxiJ9I4cQ9nIeZvyq0goF04Mzuo/Ug5jyhtZpEQWdsFWJP5zKIxK5nmFbmC6Dn/cgak3IibXn6beVr8mn1cJ9Y0fvBGpyD2dJ4B+0XFG+xKQFyeT9aHU3TKPd30F59vDvYZuVpH9VMAjdB9MX48s8rIcgt7yk/kNLGNU7sG2fJn8oVp0EQPDpclogE/3nFHtWA9tuiB/UPcbr/jO1wOiXfAFBfGr6sNaPbmIqoduIavjaaFy8w3XrWiBJoxCFySWVyY1BBNavD2u5uqwN4ShmINwIBgqDDFYOumJCGOuylqQJe95CxN28mXrMAz0Ss3Sf/CmGp4lEre+XWDtaamdiYism8ahkMnKH5afzUB6LB7pR0gPB5ID7RyCYiWNlvksEAcrnkaej0KTNxNi/HGNZCoYjndjd2kVXivNKwAMgh3nCgySq5XiG9+h3VxW5MY28/q5LZKL/7UikmIHeX1Gp23uFj1JQA7mZiUu0K7qVI1g1khn5sF4pIJVKw+MH6xU9Nq1albuHRl9ehFX7TEU1ghMWywjoIPv6zYQ6wgq5vIAm4ZybT78KF0TIO3RAJ3wECjxIPHXsZ76OIPwU601WZY6Jf+ald86uloBKz6BWIxkz0QSSs4anbm8W5yxxF50C9jmjmc8wsI362rsLuZSpb8/I6N2alAtjnZUXeF1BsZ/ZC5suvuhAYqYaY4FI6Eldmno+731KH4cWIcXqk3CmSJB+6s4sMmvGGMRpKpmlqya+1s46DRQ/L1ox1wQ1XPehFA+IAUGs0URlrXMRi8pTcv929Fzu4qHurze+y4UCN8dDr23STh08Y+hgKLM1y7YCjo1Z7HrjmjSEMVdzxiU8nJzOAXmLLDqWbHz98PSm32FzcxuNVW+R/rO/wfGBHbff42RxNMN/4C1pMv1e3PT/gr8Bb7Wzpzt3hTGSfDshhRi5w0K4zFFiUDBtSE19zuS4rMlvSbJqtvSjpKTKO7P3GkcdSddXqeYpg4fnNdmmLf2FVjT5NUcRc+5bDfI/84aCMw3/AotyOqLveb9D5lAgCmaX+nemBKGkJqnd9mErLw6566FdpaYWTwvdH9iIdCJn974BLFCLuhMntyb07AvCLeL0R2e4uNdGw1S2B6f+fX3OuJ2UpD5AzrVvnRDtgtA86WU7K7Hdg340aG7IhknxBeycRwzpxDfldTXidaMmPCeWFBKR0t8Stcp9ydbV8+Jjirx7pesmlQWbTdBKosji2WccpaefH+mr5BAEo3jTpaM9JSwS3cdKq4gZoHgO/fnV9TZAUZnGLM+cc6FU/+Pg/85hgaTSk6mlv/162aCDjUPPWaxk5JW3XA1hnoqXGtPL8ky0hUALIsLT/wLM5/UZvS2i1TUPZJy5fPPFH/YK7ImhCWPz1YxHDNoDXvCICHjrEgkfczu4Rs3RA7e6RH2luXPh3qFvf/7/+4hCl0Q9BC6VCi19vcMictPI7AEgAj98KUnCCuqENs6rYRW+qphaQhHHL+lxVcsiTj8n/IJweGpuw1c93BxozELTtozqOBORKvXebYOxVGIPQogwqpcA3itNuAjXJ0WvQl2hGEnsWWJp4utBA/Xj/f5H6STipKc+CgDhKVb3B43RXTJM2hdBCSNeXAoRLHtzNwPht6LPHjbNEEczWWmmssCuQa9/kap5asRfyAjP6Z+e+si8Ll9AHvgzAAkFHjSVvfVks9M2d/MkaXbwGxOrAc1TTB5jgKSfMz5/kKRhiOvNrNezq02Q0StCozO12l8QAZO/wTEERrDAR78Q5FZb6RE3CgsLDk5eredq1tfEAIibBHgvfGa7zI2dPiD2AYCKmxnNogCi0IGxR3eng79VO2gZHK788X4QvvThAI+v6eiMsAM2u0CH4johEC4ZiSBFwVZWIS4FpaG8ZulDn5jsi3VaR5wDzAU5MMYigFJ8x8YW6o86hE4xDB/zXyEcHAohohaMche6xZkr/1eN+srp2vO6QHSQ2XYjwPXGiW9vH3jZ7msaer4O8CTPG+qz+/etCPgx07oHWSGRr7cWGzQGl7hj3z4xZwtHtbV3h8xW5vNoq7yiDFxmHBFwxpMtfrBkjzpjIVpBnDRPwSLSNal2NkhLeapMUaibZetsjoXFmysgBpqnR2kZ3BJvS6Cx0BtlKcFz/UslOAMP2XTih6Oq9/7c8Xb/QlGiZl16gMbbcS4M4XB3u3yz85+tEDxWzRPfe+ZUIJgla3Sx9n84LZRDZdkp/I8QIriVkWEkVBFY0ZeDrAPhSH/VPNEy/2jB9ilmlSk0Y8yXSij2mU8wtTJ91A/+oDzGK0EVwOIhWwyd4I4pqCwOT3IKRd5Kv1kYw7iS79U1/3QGTZX0d/CrewnRgK6O/AlvAfi1Rc0IpTydY7FRvSs92l3QyD8odkM1gtcvhGE+xeFB++if8SdptRDxnLCt7nRYMsFr+NwXAJp7qAT+tANEAV8vtY3IldhHdICdiNbeI4KAndoETQLEpDUFBH8jYAXHuv8ZNo8kHokw6WEJJBQfbbeowPV32OFVNIY697r+L04EzZ6mj/g+zMQ6W6OaH2I5/SUpRCcTyvZmuYFdA1YBCLMiuED2NCSnZw6hAgDnxG/AQZbeYAl1MyUVAchbyil11x8NuxHcJYMnLeFPBmpJ/1j1YbhU4qguQFADBf4/PuuSOKVeuGSXfmhC4vstwnXXX9XD1PufhkjMAeCbl9qP5chs+/KXZgIB9AE8EC46JRNWQVuGP+5UwO5cWtnatfYAF/weCT8Jylr2HbJ60UuVEV9lqpJ1fy5fGGQLLnOIa6lDdO0A2AboZg8gIqzvELS/JPVHdIsAu8Tr7tpO6oy7HDajGgfyJxYCV5hLzByTFIz76FMRIn1mm5arxV2JdDaSMqLFFr/98ax9gpcC6ceXth4hhbWxuS5j9VxuK4N7HPfRkbOtCnJXsv8Sp7sikfrkitH5ZdIIowbklHS52z2a2SqyvbfWeupKCk8C7+WNiNSbYOLHGBszPK7O10JJFUZwiH7TiLNh2m1c7g1ffuDZwZbk5MPq3o8al6dyQon/7qnHTbajb538VKDnMdRNCxYNkPZjrwkR7yp/3N8VEEMe/kSQRNfse/JJWpperODxjhr8jvwIHRIYNCOHD23kJ2Wa1RuDctcoDCNLuoR09e101JTKyM6/hwPCFDPBV/B+ogD4yiy3D6wJlN0M8p1NnVzKIdkwe9Q633JBBGEQ5joxOR42U76jwhVLDadp1KBGv91iLIS9V7b96Bp7NIBuOlVTZmU4oDNjfFq3s7rvVZIyGGUnpHVJVQgxoKxlECAQ1qLYxmXmYlcwvZZgQ131+C2mHvFTJcMTLGnrit+wDv4e+FURcJwQyCOG0JICu7qQfnd8tPBQRTHUPCbSAI8g6lIyVhZxkLEbAX2CVNDks8COxTO6M/MAbY4hnIHlx1ZATXb3ZDUD2/St8kju36nRNrH/SIkKZNK+MRQKfVKI8UKv8LfQOKuuSUY2CzQm8jZYznSdOz1MxEEtIWzjThuO/eXFksdito4j+048nl18zcdgyGBzb5sYXvRugWQm3QEaDYWk2Vovw9zjiHOP4qENTPs3J+STeLQR54xYWNMFKIwEIVjFOUk18E281b8LhdMbn68a0zjgVjLyZvEmzLtBz3UMeFx9q8nymd8s+WDxoJsbj3OrfkSNv2WHJ49OqQIMISVP7djkDsj3oj0NHEi3GXAO2oOTmF98Ek2/FQDIsSktO0brJxydCIxtGr86/H2jNJ+NnWuRDHkJooW3fTZF9TgfqJg0gxFauVeGINHbQXIYiIRwpE4AaOg/flKKQqPhc72lAgDJdWao+MxRl4P7TT19kGIjRyrkiNem6g3//ztof9CTSEkukDkBVq1PkkTdX6pYSaO65oztKlxDRWbu1S+bL6fIAzBj5x0tJaVBetfPrWEUug8lh5w6eb+sDM7Xzl1P/Vu3vAqyKywmfvvAVzyhrS2IL99Kwo/Ug0o7et6acq7DrQPklZ3pR+RdVxxnK8SW8l9EG6nJHt6YTr1tpLN3CBHDaicXfG+oI6zJnbl1MSb0PuGPDEJARaSEK9PKNQK3eYe1Nem5iifRbcdVfHTW7UFuaJulDUZ0ZfQ4RH/2+GKYQX3V/VH1QZ40nV8AXvYYozb8/w6nD6I394N8kkmIn1B6SgxUjupC6B408HHUVFFMiwLZAwjOrhvynYHftPO+ZwX6cAgW39d64kg3HLvuO2mD0u3jEYLDHcEmbdl5almmbLvcU7h2rJBbHu8V1v/5PFxKiw79YB+MY3S6n74u+2vuaRKw9POPQHPWOlypm/lv9AEkD0aBSv/nFIv/5h4ncJWHbL/yZCBowXU7LgwABSi+V9bm8IyqKbOWf9abUTFrHd2EMjHVUTwpfkV42mkrXa+FNgsWVo+pbh8G4NO09Ghg5cgdX/AryeCTMYNsogLSX2TNWdqz4fNZwvRkZWUVJbFtMM/ctRiecdYzPiFMDxNneK5Ic0RQ6zwxuPmWCn4tKa1veFj6zTJxxcRHRVndoOV61P9+L0CVqPHHyeeQDT7KrcYvlO3i0Hp/xOqgNqGjkdX9AyON+5qEEWEOgBMfBQNiFA1GVrPh9wsvypwjLrYsX6pmCx5QH7vOLwhsLz8UPWaPp4L046AHz0zdwMY5gRd87vFJZcfypY+AFDsQH60RoFjAOhgFqLc6c7MC4WpHeclCkQRM/lrKCv/L5o4vsD4UaDD3QjgaGGkfgapnrP0J7mZ3L5hthpIvF4VpToq1Z0dJ06aMcfUMLFlWl/gSKMU+o8FXjNCOcMn1U1JccP6AU+P/HiCWGZ46Z+/mrl+Nb3GJ7redqZw8CUCIGgeAtJ/7UAeujUiZf542Vc/Q6kV3fkOC6nejefky0gMdZLnd2MmHp+UygYwh4p4t3YPPnvMw/ceujE/G6U8rXlgQrmBTCd+kjBHHdMYYyAIvFBQHlbOrRK6Bqx2J0Nn3rpvvNzuRXswVc4LIhvyCSVb1DZIp86Inul5bg8+s3rnSx2nje2hd3KyEtTfZ15wi1FPky8nBSfYFLKB6cbjvrpDZSTQDyDt1FiMm8qGH30vPR+Gy5vQJ/Azz1G/M1c+HXEV6khQJVlk+lmsUKVvIvpGJU1hashTu6y6oNGsW2QqUFNrd0+qqg1KOx3EfYKaSd/fuDinIVLsFJ4mRF9wB3ZSS91dDPYddqTz6XZY92z4Ag3SPdUIo7Ke4B6s/wyhEf873xSgPaB7uNd8DSGgOx6EsWfG1b4awZ3OtFQzB08hNpaI/AxuZBus8iybjxZNVi6o9cGlGvCC6wvu+mFG0AJHXDH74lLHw4szKMi39qNQDS0th5zvNCEdGn7ePjUVnKWJ6ISFh2efp/C/NLRX973CMucJsGYltIjYqUzWZTMTO4VLBYd4CJTxZyyzov28NiHObdUxNM38hEbPGgWTiO5UqjmvnxE5SMiIV50uyliQvavn84ROvTMKaMou8aXRTNg8kp7TcAT2xdXfwsEa84UI+XrVDDXsAcfRymSc4TFyVmvrWcA8xc1EgFdrMq/ds4DWtEMUXJ4/SUnuLr8GSJu6ihwFGo70Y5+Zfee/vePNR0lSurX4Ss47hMf5ygfI4yUK73HWJOSnTs6gduZS5B5pL9y0IACfjdSzcgDCIuEryxQ6z8m8bNmbs0G4Ph+8qa+RnQZDYbhA0Ht5ASj2m3WzLB3x0Yt1ud86cLkYm7lXrArZaXYkmzmosxeiEGz7klc/o+38+H/WyJHh1QXXvAR+eU87UtbqILNqLnfYSkJ5OPa0SUiNQdu7TAjVuc0hrzVEXH4lVX6tWyf19HYMFl7KTha8YiUsmwjjm++d76u1YB94iL4QbrrYLHPY1l989Ka7b+qjHgMVNccWK5Z7TK/RmbRGR0ifGenZUX67Tx4pZrxve93Rbge/T2Z7QjzVzBtIfvnIFJalMKPqe5sQLH1umDja57BWMXIQswfP9/5TWrw9peuTVwlq2c+PhMK+UPRYQipItrmJY6/OLwRzCNoZ/AEc4H2bd+Oka6wMZremP6uIF+8HVMNUKpmu74MLCyG77mRHkTLF/5VHABVUd2Lph2noTN5kZxrwNbGYdsaZwl2DmNWvlr4tDig8r9l3j00uvkBmxlTAmkqTv0HMx3RB/kYTrIQv3IaCYzpCzadNk5cNNXbmlIMWVSujjrzaOjWSV9ij8AC2w984a9mwqfDSGbhI5vwT43o/wnZyJ+JlkdpTg2uy9YSBRsRX87bfsiZN+81cAILSThuPFD6gwQvwV35tNneUlK65GQydZC5170HEyJ+pyWs7WdP3n+w4YaSBr8hJ7BvajNVkoFZpUUbRor8qbEheRwwBKpzgKoCwAvLkkoRg0XhXtgp4q/F7Ti9pexYHknEN1ZyZwPCNHjhgjmrOyIGn/EQde9WHtXbWT3WeO7eS7zBuwHXitFA1aIMVJXVRN4N5Km57iHSmpS5TF7EWEAOpolfYWA2kIHQo3qL8kMKI44TOiR5NjwBeHqdgexmUxFraQmtfLINvURtaJ1xAjsALWwnf7yOBNchlG9cf2wFxiftdDxvEXW2JRRs/nyetvcsZ3JBmn/VhOphh3eGcv47Xn4feIzRz7bNisiDaJXLxBJzso2cyN671axz16uKg52rann12Q3yiAUQ52zh6tPz82BCh0DxwMe3n8tnvkpGT3fCCymOzXG3lH1pGHPu55oM6yX82SGjIT0Tytk2amJBNoI2QXh9pO+yZ9D672ECJUk3k2bD2+xcladjXY5BK/O5+U5Uxil+VLk28JurFED8DqGJS/sTfozt/jObcytdaBABexxKsC7bNFyir2GClElBk64LEYwpmxU+Pq3WuAqQoCPAHQ1vHX+0Ej8TWoCaLP8637kIhuHeexktidjpwi0iuxgjhYHxoQdnytjulmRfw1MwbJexrotP40aiHx3yPYd1BMDCThTQ4E3lLgFQ+QEsnxjlTQdMUIZSJeP6GeJqlQqAlo2hkp5drjy2KK8OpXu24zw/pzpJiL/4umNYaGW4Bn3VgH9XzJZEZe7AQVrFEGZkuTAqt+QwlHkFkd24VS8OK4qYrv5OWan7zo4/jhbY3St5X4mUYOfwnHUr+evsQsD8uLdCqsGCEwaAAHJa6sumUOKGoZF0dh2vCBnX8DabAgop4+Vq6/ngzzhpiqcC0qwYjDH7TyrUrzIR0xNfb61+pC0GZ4YNZjV9hsmxVyNY0oQ/jS5OwaXIbkpjNw6ScNJovuuC0ecE1erV76elvysW4smuz3hfc6UtCM7D+jxE4C25HwoAMI2A7OvNtGFNwlVRfNmC4zQvnm4Rk82/YLVsdjYKS762QWZakj8dClMFyRhBLwS+aLP7vkTSKWvhZzA8rh5OCMvok6hgFhkw+vkG0t5FvnC/mH7jXcmmFsojTwAH2+M/wtDgZzHy8iELrS6d/Yynh0mnaD05yK2VwlraeO4bjdBI5ZIn/ru04QmIhU3BbvJNrqFI2m76QKKXBJUFJA7OYwYBYhh9Sbt6LZ7gmkG+Dz2RosfZt+dJi03Ij9HJIqbOCg1jyc/jetWnK5Sk3YyvkntmYzMsyOP3mTudET9errJU1T36p1PB9hUyXWqRa0J7Qh7M0jMwB6JqroTcrD4n4pPGIHPSRa9ejMHrYbwZL4dcdg4P79m90IMz+/cxyNWqd4MkcYPaCkpAVV5u/EJdqm0NQ3/Or5x1+4x//Hylr37o1HP2nd51ZUqDJZ2mdDNCyp9ntHsbMIQ0sVwicCwKCEZ5jj7zVcvRLi2s2mC6SWVmq1UIu9HZN61SB8Q1pOSKP690vRDxDmXExQNN9GqK8/WjlKu2za0BabpqtWsq/zGoHY+0EgfQkSNrKb673LELOftQ5A+w/48notdWRQ4YKMVztE9tcWafk1LSTpvNjUAVR4oQGoo57eQ4R3I5bYrCySOg2zEg0e0zFnXkp44Vnm0zB8+vyhoKlZ6rYcmQdVzAVzD54swu3B4cl9+ee/v2ypdQBKcww4jLcqHX2cMYnk6FiAdnbxQCl89bwOBM46WhwCgvphBYdKRUAytbd0nFHmkXXaQutjwPDtb+m0n9JYOvjWLt94AQkfdhCACmSigovKdsrk9SQqrkQEmymt9ijaQ02dBW0QrNVDI2qjy0aIEEMJTBPsUb9WLu0RgrDyYSmXuba2qe2N0Po93Z2UbetMd9ciQpVgIvTis02ldR9xv9CUfLVo9sgrc3hYWgDiHNsedcYHbOAiPrJ3z0S0YjVwqFvBtNRlLSJ01ntoh8vSaNXlLY/oMXan1pj0i3WTWlCUYce612ktRCMQiIZlXl4+0cABYCZu8Fa1IkBUTqT4wbZJjfPNj4ykX6b+Y+I0POTK3CTF85F/daF7+mFcoZCY73VD6dKWRBUFutTk1ZIgyxGuGwSPLjEQLD+a1kCvoUxvGhbmzj+8Df8K6lQvd31+n9Z4hWQ5zdntnMUSzHhniWMtbHjkL8XyYwPPJ0K/+minUYcMi+vS8tP+jbX1rl1lYFHAKxA668215uv5TmLyqpd2ewtFVfVbVeuy6iR1v1ESF6I/U4J34vf3I+97lWrxT2gtdI3EjR8R/q/4+m5MOiXMt5LKaoVQX4vApxxiRO0VCeNysgsYaeMgsiEG3um2PpoVpnYKfkVoTaOIQLuT98/DI5vjeqswMWj0h0x63O250BxTfw/v6z5H084ime/4IsmfiWNE/6ClxxYom2rTDckcvwV5qXFnZY2k/BVAEIi6keoLZeIoIN6dMr2b+W5y3jJeFx++wF0IDhcNBU5o5VpTA1TW6Mf4obXPUJ0RX8qkP/C56I0KdP+YR8lVIQtHRIepPbw3MKtkYMpv3KrlY4Tx57/DX/OELgXRsz+XtMm/QQdMcAY2H63f4vuqcGg/WLj/DYLr9eJC23x/jBbvNWmAxEdbJwmu4Y9Ei4sWEsmfoWk6SrTArw5j0MJ3hX9N8xIwUDEUBjllos+AbPzUIpql3QHX/FG1MXFld7W8OTCeldx5s6fNiLO3XDNmbJfmPqZq0rrbdDt7BS3ZuCoXPeYi1X/NOyUpradvqurXLkeBh5wiSMB8fC9wTyFJxSY9RuM7UsryvQJUVW+M9h3yuzQmZCmf+cURcUMBuJamwJrau86khps/+FLGk1PUJOFJKA2a9wsI/zdcZxz6TdPmKhoQ+8JTs9f8fqkRFdCsvJktnJ6ykDGexmTvBdv8Pv/yCSJRS2mxIxHqPXlSLZZLw/opo/pG/+mlaxOlKaJ5grcpPcCTamdQx2uTCPpozBiqZeJjBAxXIrUmU+ULQRM1/inA4m7hUbUG9UtpmST5zmIuy8iBsO3OI5ZVFPMWbTuE3WtcsJbleA3e8AlC4Wxp+Nonp9qBVHoO6BZQQuKYOZzOrGWbZGh4HV/h6qC2WbdeLS2MPExmuNB2jZHzNJRXeuDE8Hb3OesAbcVIC1Te2XsncwVOfs7pXYKrAZxv2FTsRYFIx+KSIUELK0YdsXGrC3/UcNH+UkWp6uhmeIO8fkhk20MSKkRIcAkI1J26jmCacGCFF/EXAoKK1lMH8jP32KOtiLPlEEEX1hO+pzHE+feDNJepekCo56VedmLTBLQaaAN2jTKcyowyuejEFXnYBOYgOv0vHRuB411e/vvqgO0cmGnDezz007VIHGr9mZv6u36029GVVah3MtRle73/xlFlCmN3Qj8eaZsYy8AqVW9aRqyH5/Z0nVwRfRE2f/bDbp44d2XhktkMcbcd67nIMsWAr9BMr96Z7Mnh1aknQR8cgzalRDIFgcP/WjULtQkmPTti7hua/F3qEQqbTOpDXnN0mE/fg+45NGyMt0AOzn9WUTsThNjvDVLD6QbkSQC44luY7j8u42C0hsklU584K7j2hVQyQuSuYypqndX/n9m1X02pA6rj+p3DtYK0EiSSAD0+ozebP0sdKOn9DDWqtYG9NgEe4ed02U9sfJ8DGn2yeqMKJUoSCmaw0fckar+GcevdqNDcO8a11BnglCLX2u6HlfCTw8QvpuC8j79WfHrpZ1rVSNHnerkaGW6y8HWR2Q4b8lnDUJPxc+zRtY/HONWwVjKXBtUqGUkk1Truxx1pXnTV6hbe990M6lk8BlfHoH97gNpaOzBuA0EYqohQskBHisU3MgHB/V3Ev1660hAkPL55qHr4MMr16/6iaWoCprlGEW6XYZAcVuvyKpSh8Ttf0NvOFLjB5LQ8NcXBovFOAgPcVuZa/AO7MvSsMxhtssg4YWX1j81SSFGDF4FF8Nq4SA+g8rwMSx1OLZ5UQ4jCA/69bfzAq0k5XVfo0xoVidik1IMe5Wywk5aP4LZ2ycoGfBTVnLkmUZq15+EhRBVT85BVAj7p01Q8pEB+onlU+D1MCwFslxLR8ctQZz5iG63eTK4Lya9BElNd4n3wiVflIDgm0LlfuSZbPY6++SRVTYktTEoiTEyCQa9VjTOyHsAi/cm0443chMfaYpzBRy0qwFXWB15JDOR+wTZMZuU0GJ5W0EMqKWccNlP0NIDO9lcKMr3R0F07xAGBbTPS+iRq+bF2WvuRpr+ffb2BO9NbQO22f/1bkedx8AALjrpYfaJZKoVtOsMwwBua3n1CMx5tITHfvLhDVgHkAsqoPsn32eoqSQQul7rX5zY0I3LxNoyOjL++ZWumYL/wwDYrgJvkHwT34U4gwgHzEEGfZ0lSqfgUD2CI0SaLuaYTM9Z30fkfYEXFkm+HVV3Rzpxj5uenZ5JpkG0jEqYYjU6fUabaL0UaenFnSJ6EeIQJuNupOA0GAdIT0fCE6J4AXSQhEEor+P9dS0BZHFWxqWEFrjN0y4he6B0HTbkP/VYMpaACrrmvWs91JrVZhg+DmdAiNiJ2GNKCdYbJD7SDrRn5zhM2sC6EZdKKJlFH50Of+EAc99NMcbFvnwcwBXYkVDLjutl0zZSI8AeHgcn5G5FKfUpK+FLspdbPaBEFlFIuXWuGoJO2ifzIoxn6KR3FnCIfRfzqyGas8NZ9oa6qyR5INsF73YTerunw9BczolfNJ67rIgkDOLOldxwYV9VmOCcmdK/1rw7EE3NPhcEJZ7rRo7qNiLtO/TDfz6GdFscBaZ4pa7HMVXG1yq58+6AaWHxP/0JwLxHYg9H358OKfMsIF6spLXd7EYuvJi/H7cfTlN71dfnHmQUmekpAQkUhOvV1K7AWTeOmKgkrSQS58DVdc2iIe2gmLP3SxzTLINqXeBKMYk0W+oDFlUq1AtRdtt3eQ4ky2GhrQaCtFAgGKGjRZpCGd8bfx7wbu5vcsZW6g3Hz1gT7Pm5fSod+YX4qspuVl0FVRWmTQ3tfj45CeRxHrt5HDntWw0SMz2FEqMUmws0OEDp5O4eal4TEegT44tbD+oZu1+WlqepRtRLQescnzGzOeUcwHZ/W4dYqpv/jI/nhwDRnNYcZzQbH/NJjolOcIOb3wJi7fj4MStnc/0119r6pdGM6OD7xZ9baxmNLuIkl9QIaU4utbwkA2OQMK919IAV+RSbuBnSy2xQ347tVe+Wd2u03ru2fr6M2I0hpzPjCH4S8apPLgBwCpUARRC56eFD+KxR6XSbqc6XmrSSfsWb3zBWI6XdDhXc5SVhKI89IxUYtFZU/S8M9WV1ArmjENFIc1TyT89r5dGpudly0A5Az4mXfMaEeh2OKhbhtKmpjT0cxXj7BLKPywuiyxdd0Xts1IT0mwTg97Ao2L8cafFXlw3dRBMSi1uvSxIyGnkq5wBxS2rW9O9LcopSiSheGPSoroCwRVpQ49FGv5gtVzqYKSgIssc80Hwp3fG1UdUwALo1TsKZ+MipAlnsdwIyG/OAyRIWyP9zl1bEwlPfRARezwQ+B327ogqh/dFSq4T0qHE7lT8uetEsIkmDa54/eVnWd6CX8FfUQW9oBp3cpxSL5QOkc0kv2GkYdkNvG8rc8+7lNWKlpe4QIGAl0iAb4VEDc0KR8loFwUwXyZ+hf6ofae93/Na8gUFD3e7jn4o5TiPknKSy5RgyOx3nz7CIEUYtvW2B0IbUatwMkW7YqyENeakVag+CNS03N3qdHHvp6IOiVdXB/wMyXYteQHevRJKwFiyxBPlBjaVkKAf3AW3koV6LEZi416w4YbI3Uditm4ykStbvB36Ih0rZNqoyLfX56P5CjpjmW42ZAWQntr0VKQW5mPXEaV+bu9ml7pO7omn/VbL0sxSJGj4IX+8mx9Z1t+qbJvwlYXQZL7AtaGFH0W40tb+wVepwc331MQjGaETM1UTeVCYjW8USswGbkB+ilzyt70rE7/tNuz45Yw1t0uGySfL1VcP40Ft9KWOAK4do34RbrjDVFAHd/EaAYRDJ/t16zMLxhYaxM3l1uC8zZ/qRZAeWIJ5bzlWIpNNuIk95F0aJyCXfAoITBpQd2EE5r36bXb+uLyfK7LyglUFo/UxkNHKHNGkIqSXJo5d2YfSYBC1dFoDBGsMLKVMrPpAdpDl/+04wLDFy3TpBwgcsJbWdjPhv68aFoj//KHkT0YACuLGjYgXRAplDbRPLQHXXEB9lmZuVYKKkt9EoYxVf9ukyT2PsUefokx/R12GeXmQcZQvq4356EiwE8YArFSQYZvZVoYhQghTK19IKplcBAXoTa6TALuj1is8r1pDxVR9F5Nk2Gp0CXTqWkmb9pAJOLK5cpZeNNe2g7pq+RU6m5VmXlgva0RJjfN0Htdzb7riW0n0tGXHqbGVDEwZPwPw+Us07K5C6ZlCIhO/wfneN3UE16F/JlcrMCMVN0yf4kJ7iIOu73M+6CX8zpYepcnt4nj6Ck3UMrNG4PcMIJR0JEWvWoWNZbHXHj7hUuuiarWb3V7MKEJPb8S8jmfoOlda/TwrKrmsbzrCeHkaGN9PlxcrFrXX81C2TXEUMvbi7hcP5flrjJ3SeYp6QWkSkcZwMM7GipZf8QYrFmA26r4B57p5SWBUqF5qkt7cO2XgLtcFyrC2icuXLRjCvcCw+kVK4KllTnhe4x+1wU00KOkwS/o157Vf3yQqU6OJZfBEyhlGXE1tUcrDE5AU5PM1Sy/RuuRnfHezxX8PyYboxT921MYVfMoCiJ33XcArSRUdcrkW16ZpB4EsNQ6N/e55CyE00CwmFFtTgdRtOGdXyBNBPm9eVv9bz4F4EzGsg3dP0q44ExjYxpuA4gMXbgsS9eYCVSooW2niQBHPDNCim92BGUpipXlUwEh14W/kTmbmcWWjEZ+C0pTSZ11FTq4mGov5Cx7nE0vEQsnnSjKDSDb5xBFj2cNcObxrVhecidkuFl6bPk0BkV8DYpQ3cbQHc/jE7/1EraAsChsvx0anJ5HwaZL3gZ/IeHIjYS/w6Ey6TRP23JYgHDuMjD1BJH94VBydi6zgpXb3h9YWej8sIWZQI2utJdc6lsrl4UJ91JohiWK2Sd4ifhUdB4JdeFHmwNGBpSUilRbs+cQKscpGHLqDVhKpxL9ruxwGrp0NtHJmXr7QBMKenIg9FM9e3F7roCw8+wDRecrYguoLWJGk0passgne9FmWxX1D9j1ReJkRSWdD0Su89DNvFVzPENVIshIHdw8b+2Qd4K6OOoqnoXNsRpvNE3bLNTRv5DusKsZJknNgH9h3+OvuL+HALzG/bOXU3nBY/YXZNwKkvPIdWskgUMUwdur/F1JUwxr1h46TanQT5ykojGHuN8HDtCqWFYVTgzFbw0W8WfVjvue1d0TntgEOJksbr7qTaL/8TQT3KBsDKEy/qU7ijluwlFM9BR5sTP8euHun3pGtAGyjkDIznJgn6KgRo62AxYHDYqfkYKKiiUbeFEYtf/JuoS95G0O4JUx/14gyMBMZfnmqQTXwKiUnh4NsZi7hqiIG6oDhiv5tPWevN7CQnxRKAxfYcI6iL4H+aEOUXw0Jpt3HcEVUcPIR+hrwBsDsQvfojJZKAvrvnAiEAJGSHerMT1ESfVCk9Df1Wgu6xlFJWZDj20s2jCi/bl8pgO/PwO+w9g9lZFMb8W3Tgovk4shVSBav9YUSDatFAlmMTAavDqdc0lPwEBx/xnE8o7DC9FumhXVFKvYdfgqr9G7W5+d+S8ZTuv81t73aVyQwbP/n2gXRwesNRjR09fAAK/c8+FORf4uLBnep7sB+IqPPKV2PqUTINIRw9GtqwbnzuFDXirWYTZnRoLP4uUeujop/VsltlS/U42gEWkpd/H7/nCGbp5PPBAhNCIF+HTtAFOh9mn8+TAkuR0Y8WmgBe5iYrGv++uHpWvyd5LT5WGmtnFJpwekp+AU+6NVKBtjsE6qfesddzAlzS9Mirrej/z1MxRVK8n8oMZHTl0mFLqsqidx/dF8ABYm0zk8mQejySH5aHydE5EROWlWjwGydV4y5L1N8MYcLo3wtRMCcJL53cwKhudyun5KTGD30o3hgL9UhPuD1ixb+e006GzGjSRSMe7yFdJQLqnfyhFMubDAjjA/0I+IyFnBykNWStyZFXDhYgTCODxkicGvX8N32oXdRYwiwIXIpoia8J9eVa9kFEsIoq9di4TzHKGJWwKTID4y/fCal+5eyladfFSmQZogSjXLSt9BsGbq6hggmuCEA6cD6GJdYHvQqsCxUl2Sb5w3EF9LXGWMtsxtW083KQGXGC1DJIji7/RVRfk+X/Lk+XKuq3nUCG8nxot7+1Dg+qq/ZXgJtaKfJos1wl4z/9aENt0+NkgDfCoutKZO8fXsRx36UdroGgkhaQsBoSPaGnpHvnb5+IqP60UBdQeTsVRGzUE07V+1balKBAJKWgTzyjXMUuaLFKd3MIfT3iQAJ/mC9iHRTJS8LkK0j6kgywLPzy65unzsp7HGPHQlFTFEtKDENF3TcmYy9j/M3mV6z111KT4HZY0G3JL5FZw1r5FDgr4idw8VIkxKCBzB+4fG3KuwMQv/UCQ8Tx7zXhRdtfYlJ2yxE2P4kLqQV39odbd7WK2JCcdwchy3z507HKp42f+uBM2KwKdnVifME2xanNFrSBT4u+B4QvTgtVmDYVrYRpFnUcSRflHZ3YwIUtL0ga5jpSd1On1UPGqbiKg1GHTM2ezmJAgqFfaFO+BZhJw9kNQ5cse5BdoLSdOxWZqdPak7PQEbrMPPhPEZoyuRYCPycnYeK1HxbdYIjfLtpgIeS6i5gje8fN65Yea8d9BkCVJYMLzYtRN0lfKcNC0KGO/1r6qFL3gGBNsgo7WsCN01tfFRGrfemyZTdCWuO7wPjv1ovR01zdsi+QCJHulTawkADw1mf2PehChNY15werFCzkjOvKT51HlVxrfJd4udy9E7nviwTfhfD6ZE2j5NrbYBccOaYSpkUFD7fE0y6Je+JdDQTbOZc4rgaD7Fc8VgRxF9i41q3tNXY5fWHgFYJRlicOKD6jZ7kNtTafYswj0R/qBt3s0hv3dHpEP7fIbOFdFmGejC7J9RHB4Iq/MLTHe79BlJxUh12ZUftaX+1kN0NNYPsP+4EwksVOlipcIXZlzlCHLxRfjC9BfeyB4KL/p9HqmkDJFXMcjR9kVuVpLOqB6lRr6p91JYrwSez/FKaYr7PvXE2EqfDKb+KcvrYpydJlgZ55DXTWQOOZoAQMY6XxcfmO8o/DVE5iW9+pln1cYOM8jS5p9eobnipbrvUlfGT+rdEuJFznVy0G2C8vZih/rfX6lL2AFS0maPChacRIarD2H0hNbSzLht/RbGE7TYN/zoZjd1XG1UfTDLdhcYiW/IS7C0GuByYE/jhlufu6OHA5YnBimHwK9pxl6pAahrDBLbWYkaUz2FfxYjAUHwukfpFCr/DX/8svLmsu29330hSIM/WNtUPxwrKNLc3/o5SY7DIq1PyzkpEBS1OARz3OT+FbfVR6EXuxtX/dUIQqiHDYJVrPITm4TsjxdQymZrGMOPgCdcUG3lvAuPESNmSFxS35qcjkxTCmwofYTqPivh9G2LN2olxpNLqNu/o+9lNCTeaQalQonBxUqnKoviKcC2n/QsfkUclYsd9hXZo1QL1i3iasSEcs+g2lHXYyYlkGbHTQLLNFli9oOpLNk4h9K9fwi+6HCVmbnECwi1FsMraJpi4xG8lQpOqC5kYyM8yXI8OXJvSrtkNMwDD2HOHgDkrlMiFSiJSARzlZhuGwPg52SMa/TUiQwxtny7UKU1QqdEkzdG8iI+KFKIy/Pwkw88T51+Fhyq5WHc8zwCHxqyJvPVj2QjqWKOMY+NkfOX05w1oD15EMD3ymajSwN9KU8jTo+ji/IDLRzIE6W5L8UTKOGBa6KswUC4x9+qi/8XUvglnjRYSS3Mi24+WTg0cOICXyhG/Kr0nK85Er4IcQ+AVmD7OC3e4kwiE5DjFqaqtRh2Vn12CHNo7qXl2PjjfwGWc4TtrYWSVBXA7aiZ06Nr6u7u3mzxYsFDU1RVc16dOnVtTN9UT16yTf36U10awK8K1Xm7gZMU6bcWeDQbk/wf4BmKQL706X4cWn9qHOAJSopKUJomMpuUFpLcr8T1Jrv0ARtHHcEA0AHZTEUIuaZW7Ei1RK6EYnnjMfIzWuXSo/jmdxUAh6xHto19PmDN4ALqTH1t3O26TjGgPhzGwHcLnj54HfiES6+mmMRbB9NbIxgm1ihADojE1uVKzx4u4mlRirKpjsnDrhsdyNUOzgBhD5euGzjGuVrNCrvM0GY07Xlh288bL4nxNQ7GYPMkd5WB/xQHM0pu9ZaruMHUrw68m/nGMiPt+6uHjryT12QguxSxDZkjf1qnPFIZV0/h4/MoVDF9eI5jzZqdy82pM6IU1t4HqN4Gzoi8Z260qIg2TDOeLQllLof7ny8uC2OjL7Ld9snEAbdqdwMzXFP6/G2KTDCTuSKigcHTKUPEfD9AeuUlR9Ce7EsaYZRS6Io5vHuk+Or801/8iBDWz32Efs3q/H1IVm7HkVllRmtniqFhqXPW1msX2+CO3bsg1WElJ/dm2gV23KrrONHxheD/tpCJyMcWTlYK/8m3brmkjctPQRo53pcc5iKq+oKk8eoU7k1Vzv9DeYWFBAoKL1QGABWrT9zX4+MI7VAhrwH/EuFv2jdSjBvseJRv9Ct76/LI4eVUsO6Kr+kHob3G6Q5SbqJqf52V2eQZVpU4hmaSiRSgU5jmzo2DvssLzup3N9/Ckhl3altmf2WpVIsqefs6EFs8xtlC0YkGixnyPuvAG9kQqdIzJkyZyjb7deQNNkCoK67DvST/YEuFd9TJ3CsP4rvri8ho8ihV/iBL8XcSFONacEkfG6N7fe6/h3eprD/AI9k61gziIRiRA11tmfZHlCfYZKXJ+D7nIPCDWnFzjl4juZyv5EUksAggFtcjBH1lHnG7HxNNQqqvJX0tCl5NAUNzOQzio+lbj6K+dd8Q9YfdJnTmWUu4OQVAauDMzG7DJWBAr2QYro+Ojr17qw02oPs6s6IMg5FwiLHdg7BVCNWs4d9oGbmRTNW/u9wjfcalaYG+z1EGh1txNfjCfrsRxsyQ8HirNldQOV886TlWeYwHCRksi2VlGgfUfm4EXZh+Mqw0xjYBziPcSZ7Jnu8sFU7AubyFHVtvE9ILA/otRqH//T2bEfd6ihseA5WFskMGq8yBNyn8LCQfp/TEZSR7RWry097biYwjG3RiJixqHoLOIDJe+auQyV/wMZ36Zo2gU/IvK+VHTPIO6qkPTq1V62VtgaL0St11Phcic4/sBUYO7L5VqmpEdZwSxtQ6iyc2Ppyfj+BBpgW+dYThgc8pxooWRTW9TzcU7rur1U+rkyUFChWNGMoef9bo/m8otpeYYzAJ0EBYicarbL9bjLPLXJfQDe5KN7AqBXMsS93WLv75nJ14OJ5A7TuUHU9/U+evUVrM6NhXsrGtHrWjLF3RiCGA+/0g7cvfZ8kjp6jPl2zYGut+K9KNVGtfsGK4f8gxnwK3KVzGmbN+yigiCaT4h/c0g1DsKTNxJaCfIMjcnNlapuGwLVkQX3NHkobNG9uJjcIoPM7V4NehQBVizH5VC9YOijjAh4rD+OOfG0J0d6w31WQU1U5WFQP93iB5uij+15/wiLyHPCGekpB8argvFVidI+n1nJvyuYHihYH421hCp+tA933HfknzMFPbloXUuJJ4SA9o4eao6ELnaq/NK+lZ5ckWKSUKToVKKNZTON4TtNXig+rKghX1kDXIL19Re1A/Ung9Acp/OBpagidTbuwrcQtPdjyAndpp1Wjt6WOxTuqXKzCC2vCdQKPJQs62xlf59Ws2MRcD/HWr3X+hJxnxSz0ymCZdYFOUzcsYtcOz5kH+rpDmNCmz5yxQMzQupJGy/ardifWj3ml14o3WvrvdMyUMnVUfvTjksbtJxRl2XMZkNF9qyBZVFxMI1DGDc7ftrHDxHaz/u6hPNmQMsrDWN83wnXs3bFG0iSFNhurlKU4nfAQWGpdhtrEZSBuVBLFNV2tq/vowz8v8jXgZwgF91wh87KIrxKZjoh2b2DyRgQRyaBW+GEQmqQYVg1/1CNtcPjlwbm/tflWHlIELrSQDtUld+PFUkr7BBSBpnTOaDJwp92FVEAAqfIE2TfWPqUGnasVAS4vxB6d7F3hte81S4NPJR6z/A1XnyfTI5yt4eeqa+NyL8amk8gSq74DEiQeHN0fg5VjoAYUdUTT4MwNfHfCPE9q8v+A1fhmb/gbII9cmDWSt3GHP4JY6fUq4+sWR4hD1FRUsCA5CidauVOfEXzTFJfB2lQVXGtws3ri9bYKCNESnSGXubExDhqE2CJyDLoX9FpnzjMfXh5fR9r3pe3KHR+GzY/cmaXCosVUqOkcYhP/In4XB/Flx1eZkhrk4KmsUkoO5xBy5UhmydMs7LyD1lDPAjFZ8rD1msNPdU3WOSBxbG8x87hUJF3pIVEZIhCp3Cfam/cY4UgzX7t69FIXpxkVUecztA8tnZ8MFZAB2ZuQ37wt+eCFWr2e2o0Hc59gCMbXDt8UyjnP9L4cH7Q+g5XfHmc6sE0o60V0rEVusjcY0teaYbhVVdRr3UupapVCcExl9zcGHQ1SNF1wuhQ3ruYe/0xgoVmtw7rOPjm2Ewil3I8IbFdWkdoekfTpvpMxfYVyKV3gYKEVEX5BDo8vRes+ROiGDgLB7wWKPF6Z40k0nANDdwXwXLm5AVA3THdvRVW8jbMNHdIZKOK8Rc0ucQK70MWGBwmiMCMebtNPc98EkqyoSnuUTnO/rYSqNfhiIF6B3UjsbhFZkY4kaG2xOUL6+7LkF/kzId/TJRhsJSZZk4laFYAaZPCuPx7Sb+JLLpwtxFXMSLzsYh8ap5s5rveYpgo0PIjsxthGhUw3pg2l5WIP4uUPez3mr9QX0JUVRmiUyK3w+w51G7A3hwZfXFCphpmKwYDu/Au9x8r8++6bdAO+UnGx3N48xjfopiMEQM1G5OmmDHidf4DnOmJqTJEFKyV0/cInHP2MqR9hGmoV5YKeQAN9mOYitI+s/hqfXtiM/l1n4KXwzfbLwwz8RxOXTKnLE+U0CY/vtHv4DVVZL5wIlEXbIcbbrMXt60CAOi+O/b2EkmvqCbY/7Tt1ZEEAg4yCrQTdhdu7U0bsm6EGt7BN8u8t4z/Ed9CuenIUVBt4lvVkxHqOqnGG4DBatXRjUDR3ItHHEopsiU/Q6giSBf5vfRuLEtnRq/ckvY5UwN/Ud2d/T0DvCW2TjdJSr4RCDLvdOvX1+DX2VkRWqGSSw1UHu3AKxszv0SRmN4VJf3WFvtytAes6tQZkYy5F0XKeD62z6SppjRTu318oqZD9+bPvLtGJ6E1cRiWjyUVOp4JlQCv39C9XeQT7OAtpFHZ/VWuJElSNBE8NE6POPegaKC+X7dvOhl3jMHu9XMZ6zQsVtJBK6Gav2c5Wp6sThja8dWmZVRUZIcjH/7wAKOUWIAJ7Hiz2tFVklh5867Dc8Jrw7T+RUyTLzVUNd3dqQ3UHGH38AUTWfLd73t7QNY5ib5EeEzk7alwwWI7iFgsX35wUIjj8FeyKjP+Z8lNk2brS8LQaxIW0Loc6ZGe28/o9AoGaWWUiYmAAUa+UhthvI9dkitUufkPaOayxyMPBweSxB/ZTX9lIwBilsY7DXLFzAqmEXrzbF2hsTsEC1bJH1JtNOWBo9834VqD00Sm09muJuQUAv93AUK9hen7wWEz0svPERTa/xLI46/KlMyN9druEWif8yQgDEB5KDCwccatcPhuWHexJ0IsMw1P+u/yQoTNt0tTQAHv9VD/lOyTylccfgO3QQq2Lo4mKaLBfWFxnmcSjjquEcWzossZC/l6ajGkJqk/yqfnMmkVEp7h7Cm4TMDSdzeii+pg4dLspcyokyS7GoOw6kwOuhKy0qxxUNqGyNQi/Lhdh/4Wo8axddoDSSGsTZMsU2t0Qm1TNo7EN19JlYK8JhLnzKt8I2Q8Js7f+Yizrjt4XmSbLtIXW2YrgTiJgINO6bSqOwtxyR0i7x+YB562ys+uEDDHFMtFVklEMBhT7iIG0kD/jOAvAWrf2z5cC+TbaEnQaEglRo7OEdJhTOcPfLeDU6sQoSqcxRw9tw7KsFAkvn+WL9brTMelOdgMkDhKEbrIYLZNwV05OzyyQbOGqGRyy1NACWTBCp706YrHELpIp0lXH7yk95by/Q8UQ84zStg5+VBCm18vgY6YDMYW2u7tF6xLwsbL7oxj1dzPMm4Y32eKmRDN01j7y4xvE5lQ2UNIDw53+lzIrVIH8IwvR3KKL4BQeMUEFOsKMI2cAA77gPgoZa69Gq9+8jrsPNgtlwiqA1Wf8ze4Q0Z22Ep2zAhv1lc5dTD6A1lrSjbBE40EqdWuF7lWzILGMVdRKJJZbSogCCw9/ZxQPYY5InCkDuIas/EtfLavriJrFXryp0C+HcdC3/P3FLi3eUVohoN5D1JCwar3jx9vX3LYE5scecBmDjyVmV29q1FaIh3haJ5BN+MhLjnFot1g1aKhf7+t0IEwSzLhPo8jRDeoyuOQOupTOuqQN7kwM/XjHmb8ZHc57FBsWOYzBVncQMyx1xMkeWFDuZQnZ6QgqyDnimQsF+3LqbqLpiTsUVJHhNFoDDgJr4HtnI2SNktSdPP3ZP26cYsQf35Gbd9JPfwbJaGhx4XkhWbwD3WWRhdeR7YleoS4k+SyBYlUBihhdgvEKm70FPq0CC8DOT3fWE1csogVo0/N3mfq3bvsGh3FLej0ybnWzUUsXLNLLRDk9CbEPxnqrSfgwSNkmv92BcD4vDKmPxdmqqjRjQMoZ9h9tp/a7Cqf24latnfhs+hVvz+sy4LsyKdUtU25hzR7yJ/Vhu0e9kF7QjMiVI9lCN/IWXFaPagKFWKNTCaSWUSzd1Uw5VglUGJrr9sjvGaeEGXQho4A7/EYELkdHWe78np9LyaDo7VezdRUTI5DLo1PJJmf5sznWZCpQ7g5Gnh8c+O+jp/MJbJkGt46gxXJaXSMNFU/RDrT45STmkYMKBXv3wxrHSC6UDDQE8t7hfcHZaiI3lTQ/m49+e4no9rQvDiLW1x9GFGXcsIxfHzVlFwpPvRRFx2YwoHBavB5hENZF0Cw/x3KQ9v6ccmEKQjfe8qAoLbXfFxJtVSUUT5fkvkupX9W9z1v1oV4arDLbOYZMBEmUgLYU4f11W9NhcUghjJXltvgve3PMe29W5SSyONuUEJddSK1YhRcvNKDy+T8Ja3DGpWvq6fyqRnAonVfgR3BX5Ly5c7oHs3fwDtkxr21dY1jDfjF/qe+gWoy+B2ZZXjLUlKrwKZFL6/rOiEsd4d6viHCH78EAxRoUGrlcou+RT2Z/vqlnbdFVglipIzK8GT6HRdtBvzG3ANUV5ACUF2ZS7mlpOH5Lvn8bKngFvxh+4GUZOSszaF8LGfLNmxBpgZ/HFu6T/MM6jNl/c/4iUf8ofACDS6OgydCqksqPdqLBDewCoFR+ekUxrAM6EMSrmTC+0B7qZLpSTIZqIqLgmN9y5Bm7riQFvXSOKCvMc0Q9dODVurj8lUjvxNeKExROgL5dzc7M01uY3R4ehrITO8e7iL6TWDlVzapowakUWOvyEr6KpyvpwuOlDiEN/upccTk87QhMgAnRhvI+pZMg9Ahmaq+8YrdmL9ZvXYFNjpSKppeeQQXYH1P/jrrEALmloAlvsOKBIi+g5S6dtnTliwVkmaHX36rRKturUYqa7QvSOKY0J6smv3eTBw0MEeaNeHpkBT1wuXszo/NUAnLZ0oBkT3pUxEAa2Rl06I5ew9yDhDyjxaTEFQcU8nRYJD/42tIUj21qey0upg+OBaIs2IFaMmkUwlVgB/G/AgBJj2JZvvy+/cGv5VoHwgURmWQhR/qfZyE1/ZEFH1XAlD16S43cdFHkOVyH5J9l+o7EjAdgZizrSS5+uEyixh9KyPeBWixXiCMcyilAY2uj83sv50TQz4RjhFsvutoOUU800nAg5ZlSQkSVZyHNeVlrgB43/iUf+m9+zWKw3jj4oYzT0EyiqKuAMEAOAiBFRlwGrtn3IJfN5bqauE4+Kqxn56GfN9Lec3nrZMZfJRyQ6CCVzs66VAkq9EsbLAQ8nFLt5xV2sNXwNDEbZ/SzGW1hvSOV7ywBHr7lgxwS7j2WtRXD5EE87pCDEjNPJ2dzQ5T/KsU6+NiEkgOMuOSh8oDpyeL+X2vlD4ddy15rnfhU4YL2+HrzE3qn3CPqGkaahpIOS+WW8fXQkJ+sGx8eEEfyTD0QbYurCfYigxJGGgrFVYb3gz5Fko0qB78Q9qDgA6mJqv3VXkAWoyC8813s3tLQRpQOv8IUIbeULV+vjdIsHPwGB08aatBHHOaW9ePKFnKvbrB/nsm1jvsBcam/yhZKTMRTYqYFgca/gXsieFvSYGSOSBGvLBMOawa+mzT1OlfcZlTiMNOPrpgGot8FjgIDN9DnmZeAOoaKyKNqKfIkxhocdjR6TW4uDBzJ5CGr++4uzawyXB8WYeVGNJYjMUiuqfqjKZTietJ+rcxtRscP0SseK2mYBzzZp3qE94Jj/LTassGKyKN5ZyQ/rzjYuul7qFEvmUabZKKuTvMWkYn1EpE1Q9q37ubs29DSULF+yr8D7btc35CBeevI3+43Qr0PTvue1T8rj+56+/FwuVD32lojGUxVwMf1tRN2xukTG4QS7Kp2a3HW8dnRvvLuAnRf7UXfbK7Nz4E7Q9jo4CX5WuJK4fEgZYTm88Rm3JuzvZEiesI7us7q/QsZi+QwMDr5d+yzrGYeCetzBgsmnsIJAMVpRXvBxC2WrdPkyBYkjZ/0Ewnr6Tz486mwhXpRyVd5o5kDVXAvE5abkqe38u1+oEe9R6OUpqoDnFxn3IXo5+Z7K//U2CThm3IREaabf6GIEbSsIiieK4IXXPbbCDL4eFb2nWXoA3545yclJHqMpv9ulLCfIigeYPAzaQwN5NX/Rmkh/183XAxT62RpTmGlYJ3Dl64aBALX9kiu3roe6QlFQz0taKJW6Na6MXOL/ioscGeP4vlKgGslIl0KwBb/gPEuanmf/nmJRUloMxkvwuA4jB1Yq+UPIFoa8Y03O0zE8l9vaKEqFC33f5Cp3QjJyaPQlpuxtndmU7vamjqKb3EX9cR/WVzvJfNXtGrZQMlUhDQg6QQvSQXC7OpLmT+Kfk9vK9Wu/n4f/TAwB/e7k4nWEWgCKZDWBAOdkeo/aro1ZYJPQmcTgvu7DhhOrxOvBuprC1Q1IibLBpzGH7cAx7ygUjdVl0mGf8rq2KBXdPRD3QXlQbj5Q/rtE1fOZgcrHDCFnANU42inmv+vnxDwEwy1ZtH0thvHgkhmeZBHsnOBq7KtMroTe9NwbQZnqwvPDKs45+CO7kk0sRyPjEdcq0BKWwhtcJEuCXQF4qm5gf34ZpXDuOYduoZqal7fJGs4Y9YtSQp4tO15SO/3rtkt/7SBwmQ0o8/9jWK13yGG0HkDX5SVHOFQoY+bP2FS+OnNSRCxMtBBgfRIrX1ONS0rMbY+eYSuZKkFueDFjvgx2GVx0OCHLdE4fhkwF87/Fy0TZVFHb8GEg60dSNtlXDyaPiFf0GTRISaUDe3gAfuvvTT63nMIQCMJWxwdz7TuSjxK6cxhlOgTnaE3cLKTtzjX4xYar70/Si2nXpwGX116FBD7HB86Bf1Qs9JTEAGMXGYSVfOwXB2PKBN0Tl7rBISE2dtiKMD2KmHiJWhgHteuN5QkKsBjLoGowfQtuExX+mYR9C6PamAWIbGxWCIXk4P+skIHWheWIY1PCVCwsMm8/2QGRrYFJ4rlzQKACDnmqWD4QP0NAc5Uv2C/7n8kr4xAVPnKs88fldy0PscyMeJboJdaxIi7T08Co955ib+tvh5ijpb6mIg2zOueXwkjY6xpgeDeFtzgWRUhCQ3y2dpD6SJCVG77dsEzgMmeGFAEDYE/ObEe71jHqvbYUXyubHPsvQQyHXNzvQDDB12WWOXzcoiyC6OHsJ31ir77nBUUzIcuULvKl6BDT9IvND9mFUUWkFJobIDy+Pl+5PDSoOsKxfQGn+UiPKxJLDcpnEnhvX6oddOz/aWkTfG+ZlFvRyFJDPSAdN7Sv2fd//wBbIl1krIW1L/bVVt8Uy28Y+zOMWUbC4o3Ex1eSJRkaMRVbyJy0/29ib8yOD0DwzKbLw5+YvxeAOsKvxlfWu+d+lRpjBsSQHKSmKFQaPLUvi7/dmAywl1oZXz1U9KTRhuciGQv1oYXG4U29dfsEyy0guhIN7KyblXL5eFzNSsc+XQbtxZKV9xMg1hyASg8zSqCtyCs9rKPix0VHCRkVrvM3l1+1Y1VhEHXkvlGwOWNSr3ICzWEe9klRxjm15KYid6TY2SAFDgzgEvjWBpAsqgh8QyBhU3qiyDkYNBeeWuRB0Mw0/Bdc9Vsn7jDtguxZWHOoWqnBp+iy9wTEXFk6ZxcQ4SXnBKS6eriS+lp3bV+f4Sumu5sjwKryXsxfm7Zu0lsOvFUYpGb/Et43Tu6W22CvKApaFl2ZcXqnmVjATr1n3xd2ll+Eao/EG9nZW2XknZBt/IjfwOtMjIq3sumTW37izop9eePpJxTMfprvTZZlmIxJCUEEe1EO6GztC/zYbhidjbG5PWdfLlQEav+uQJ7QyYP5kuVUu6ws3Tpc7q8eUayYrlusUl80lDm4tzFHKzp1NWN+ILgXtY4b1zAl8XXwT97WkwtkiWYaf/H7X25pnXWLJ0s7RR5/WLVHwtY3eApZybT1+I5dIBYvhBFB9R6+bdbx/sIJ//D0e3wvZnJ57KVDhctNhQSKPZWPD237DXalQcHdazuB9CZWRPgYNHzhjLcmecV8rSAQaZPd+vVoSIQOpfMlZRkhj0dZXhXYM8zaKjU9Ho05/HB5bEUocEDJ6JUlfWAf1hQ+UnLWCFB9RiEfFNXYPPE4wKgN1deQt44KT7YqOGc+CdqT+Dr6ub9+tYU72Bp+PwT7pMCJ6N545py/gw31P9i1BPmXlPeq+3zwLDJc8OIpjjE536aVBfy1kGckJ5Teki1gpAeA7CuW1DFGkXWW13yPBFU+24ShsLHd92AGedOptZv+Y0XDXbV9bS27QalJxFSwUUI2Uqmb083x/vbjd4HdMSZbfsV03b3e7mCr3fVk4XpEL1gzL9M0GGk9j0NveLXAwHcY3INm4iDHb/rDk4gU18NbqIJOv4WxGU8vWkuh+0DoxLp6/zdZKvcJ31vm+xgcSj+QDIEGsEMyPAj5NrrOve7+RR/MLrEHxOHRt/FOKgRpnf2wgz5iB1mzrXqL7laZsYpcqbRXcjR5dG8RJLKYBbLyTJQKkfzFnn0PWLIWTa5HBkhH4on1BPc1geADp2HipPLp5Bhpd0UWbvyXKi0FByk58vVdCwczVcEF5dEhohe223n13E4k31OelQQBRuQjNuLWFTBTYPZJUIcZr02ShoSxA6cXz0Yn5hni5SO3mznza2B9qDAAtnKeIDULfy1FQZ5S9mJmYLsNg8W5rwPTw1+QNe1GvsuqWm1R318qKaefqYMI4B5HjxeRMZZqu2O0DJzRB/YZzU2xe8Q9k6bBo4qui2Z7BX50Xwhk1H45db5gZaGwmT60jFimzCh0M320dmg+Vbz9u6wZ8TLj0hA6Wd2UWZBytE/ozj/Qiepf6FsvnZWdMQ/AolrEsJRX6xYLpyzDvDq0afJ1pz7by0eytVXoPuoXzFZmrahZwXp3RXTYYnQ/m15QRZSEprEYD898oFCtDLBE+JlpnanRcVAjBrLur+aGZ1jCdRXTEFr5T9iKSpAGJk8H9Sw3JdEvP8YlYSCv8ASCUCQuJFMxfz/LJVYsMqYX0r94Zuafa2lknn7VSQs0gQsPfyA3o0byRC8lZj5WHEw9qJ4RbrhEgRsqBjU47cJLTvvp70KFD20wuFVxZbtM96syMgCKKqq5WZrSxHeYM2uhZcgeess1sdAk2MwjBhbJfC5pu821R3w2+isItnddO0MDXKxHUpzp0iTcwtwl40Ojpp5sMyf90b4dTBH6+0TlrWv+NiGuQf1pjuLzjjhFuTBWxXdm8Lp+gz+gZfLQmhS2kppj6iIudU/VOd5KLPRl5/pOKYDIyV/Hb3dceVFmcXFhd1cKgmjy8ZaM+NJ1ibe4dbY5CEFg8D/lA0en/2GVpYmN+glLShP86MDMoizEQtueyMFu9ZwbYHFbCQw8FXSii/S53r4Gt0qjxdsYidw+mr36qzzY7fma27oaFZgQenYtyeiPJmMrUiKGRneYTy7Z1EDYZ2ZkqgvEWcnOioCNAVIXFFhfeqztU00iTLuh4REWQmdw8so28bISsFCvkfiGSF/S/NdkNxgt1NZXUshihWjT+cTuo0yswcPCGmcTIK7BG5orrQpf6G/Gk6UgZq4mSAClulaCoW/niVSTeaQAshxGjdaT2pQsk2gshvqJAVRCOf5GbsR2PjM9hhtMOzpq+yDHxSzPzm1PqWB0sR2yoUHQ3sslqtQlVs6nBnsUIrvkVkBVqmwBvXVg2kM5hrvvCliymIgDbpPgbLDemIalbcNdJnYYt+uBoAV3DAukTQGwLD1pKdd/Gq8pnJYhvyfHl5pslNs6nikHWQhrrOJXHsg3pNEmr3lPWCCbfkJ9kaxl/9ImSKTWgV3Mnnvnzick4bOhM4Z9tj+0AyPvVKZlg+YD1VGX6TnqRGK4FVOTc/pXN5Wj4SrOY5hnYq57pV23i+r1QGsQAXsZ9u2A7h5090087/SjyI/dF5hU6VV3ABbT1mL+vsInlTB3DgXAR55H8YniAfkYwUYEO8HpIwmC/2TlMIcC9aBEvvjR+53s3qBgUxoSmL1loHJTGKPU9gk7BvgtSSvFM5D7RFlEUIh4sQ6rp5cfhAgwSxwM4mjA9TORKfLTwZAQgDDd05CfNmqfuYT/usYDvy+pXrAid/+DxTyuCdvtKPeVVWD52bpwMnNWuD5IFOxQYOR2lCSbm7XJreGKaCM9HTuzi9YP840Dr8c/ZJ69Mw+H623yKQy6nheHAZDuCai00Y2qYULBSQuMJRn7U3TYqmqHJZeQCZ2J3e+iTJdZpYamNlhTegDccD2fqJZvgHsaafFKxk/1mPd5mAR3b6yw7uk42wVnkTqs09wrsa2vWJQnjF8ogJ90qZI4GTVLCbou8oJaRyPXpj0LDLysa+xQQrKQS3phUvaDjxb+2VCPtTKHDWO6/9jrJScB9qIzIqC7/E7kLj2WOnMXTAZFkMGsh1koxU55ZjkgHhz2PZTRf0BQZqbcsvAKKfbTXsMUBYwbQ4cpxNfvn3ug88JrWm3K6b6+wXAVJj8K5DMWEL2m0j3dhQvQMtcsGSjiDortdnHTRsTvh5Ie2rfhBbSpMbXwOk2xdYIBv23h4VWEWH+mT3OIngIZkD6GyYLI4Fg2ILEVm1SWQSKnDylsr3SvqVFzSWWR1tcf9W7T1nCnYBXc/2dUiYppJB2A8/2CZhzMmaLZ9DJyF/ZyzHIYMiGPY4aSoCbX/c/LulFWRJA9vNIloOZMkN73WfwHnxdmyM7m4824qQKHDmvXgIYwrAizMkfBCJOPsjCNanUh45PKhBNWQ/dJomLm9wiKlzfSuTsKIm0pbAMNusy1VxX+ZuDeRuQIE0nix8PKAS7t6x7P32NMnTS5KNlksbKnDRRv4C8YU/PacYVBmAh9vw9QK5TcFJ57QCD9H1TDjIlbx7hE4DflefX4iNndlD5Xn42bye5kSMW23lwk5u9Nxlh1kmDlS+qDlEJ+WfzGtHNZBDdRA1zs+uqwUGVoQ4lYoqRXosdrVakXya+uzl4aI10BHLGoYmk1uY0wd65EuE83dZBwabrEhqoG1XgPCaBMmM7TTxxJM7uDZSSyBATDlfbzBdlkpnWvFMHA6a0+ElW2klau/CuWkNG+3Y9h+UOy1GFPRNd1mxf5qs7cmzUlmGNZhFdM7BgY5IcsxvApWiGAXzawzXqky8TY9koW8BM2rfWqCHMtCNIlkd9i6Y1MyZSaG8umPznT6BST4si9nTffxI/r9fxfhxVHE7Qe98+ma4GhRPNsTH8IPLnsrnV/EQih1SCuZ97zAIfWWasB+Us8iHGrP+rCmWqxMVPOB8DAKs4AoGqtJGL+zpUNrSTR4WnP5ucPYqeYFkggJpfPSC1sgaxf6+79myiqMvbiDiNde9ke9ZHWBQKMvE9h6U7fuGYe4zzjrcd7PITeuicSE4BFl00EfWEdhsWstILUmXkiZPGfP+9T5pPVpTfeMCceBJp/Kin4BjWt8eLglr94+hDBxXJ79pyjrdtUxJejCQbLXQ8etAkfQO/jAnNIDk4i6Bf62nH7EDbhrEy7dxE95KyS4qhlN9LCbvETeOdat8E4+1YCT/kMGqmiKeoTk6aQu7KGEqAs9l1JQxBnriQS67Tmouw0pPM1tplF4Tis0Q3xC0/FOmqnv4h14Mi4XeC+aKXeyk6TDta8C9nXFb2Ar7bi/GhQSVa17q1aotPOk4U8gxNTaJ5XI1gVg/wTa22oOTz4aWTwsEofP4fl8RJcD+W/9FQUxG0LkK5ie/oOQmKT8io1ogK7uO6sTK+tXUqFcF6V0Mr8y1eM8y9X+ESiUpkUFiWwnruaTbKt2CVoBaiVuk16fK0r8RPZynZy1vEB6eAjqaWq50bq8h2n6iFNFw4PwXtdoiRH+OTYf93euC+XDb6I8J37rBQmxV1zsPlaUbwJ2pdMeMmB10GuPHb++yGfUQq8PxIhzqKyYfNUyj80AIAhsdwGLCep85mM7PMIk0U+ByX0tlqJ+HQgcOE/mLTfxqIWG8Hov8beguVwuAR4gWeMjPxOI5Xa5LafbmU6F6QQmXagWzw9AzwleALix2xXbIRb+toZxJWEWFE9Giekw1kdmcMqqj6pY7VPnQ2+/gR6w7jZ6UWbL1JMSqalQvI+3PKP94fk15RGv5H8R4ty4gDtUTkKiLXIFmuRWn3lA2PjEfD8PTumaHWlVqK6LF4FP8HIjE5nmO1aQfgFjiipKwJW/vjQhkrJ3+8N4X9aYxq74+T5oqMDPQaUI7cBYuwSFtZm4UX46LG3NT7k5rLP25ZoHLT+tqh4gmvUMMqh+2g33mp5j4AA40s/hT0XLsS4aMb3PR/W6FvBriHtr8WTsPh7EBdrQ+tmS74Sz1/BobfHNF3Sgs5fGR6RHyxl4496+KZeu9E+VBDyBHxtSP7DZzVfjdQysJJeF1lzG3hMxvsOTcwpwWBB6OwtSinnGIfrxPTDRNgIUPYXNANmZ1eW0OrbXEbTAIaHzPh88hDCy3bGJ8uM68r/fgvSZY0mjZIlZKUZTGuyJCQjIqY9Sld4/gu/B7BiCcC/jQvYLOjThmiMsKzemmjYuf1vWbQdGhybKDHgr3gq7ULys5OXpp96FoBQ+THTJuNgtFQe1URmSuepzcF6FPXIMfEUfbFOZzQ8Luk0VyTTUcf/0nWLhgvgMuTrqqiGfXcK/bqAa5nCFmlRjzzTXil8CuQtJVcx/xN2mD/AS0HoU2jaC5F+ReITrtjv3UXLWhmQUA3GytrwqlmkFnWID6Z4oG2ZmpgilJxEA0Wx7DX3MdjbxLSyXoLT1fkjd/Z7vtwHw26A66DJfvbV6NFcxySEd+cKQSbdtcgaip+tXE/tRUMkCLnxSGVj9PAQLyhNe2EmkK4H/V2MFO6H/zxp7w38TukelIJZBshnntrhdEqn7vDrYPgGY8XddN0+oCQFpaXgkxsv+5clEbqyGiJJ9R9tDN2TYIRT7eJldg2WRkDFZz4Ks2yzC6Z8hKdbJUcKTe/edVUrT9jvoqCGQpIjCnRaS9E8rTUxDp5OKCOeebKRlnudw14ufEiSiR1Av1jovgmJiLcc0YGPmjJfO0z7w2rAj/HRLRhJMktou761QXkCCL3HDt9roGVnBgV8INe9A/QtgrA+YiMwXhRAo79LR/YnVcnssnVcKvKW0urMHTOyHC2W/2VL5lY4+F58wwO28mrqRspOYDqrVkK7sXBKMZ6wnTOaaN0GG4phKNVe7FIT4t0qA6L4pkTWnQmI/bT2Ngr00Dv6jqpz3hneOlvg+r+xVjNGDY3jSi1wn5GQH4A44X7tLePlF/wxps8kZ43d6hTZSePAENKIo9Vo8V+03KwrJ45pjbqbfPwz8WUwkcIYNWtFSH3XTvVpUDKEj+AF5YnFPjDDcfdDqJf5ioAGXH+cYuy2jH5qKyORMEkXoZ4ss2u36ECrBi2wBZ4AL+ZfbwkFOdGRB20IZEjnEgS/NierfC3a/tFOE+MdnjTGR0e2IussY1ltXxbGKPBQZ02PNBwDels56ZcQ9/mBkuIVzkZUEjYk6UA3/i4liv40/Rqk2m+X0q1UOiUGK2YM8fGtCwve41/6iiD3HzJMHDpiByhwASzNIGtj1/xhUp5l9PDbeJnO+jU2dlr/QR4EDFeHo4IFPpEjVmNTQmO0X7ljX0KNwJf1iXdc7lzOSxnEif95dsc7G/ZJcJ7xTHnbrwYhw9M6KczaC0kceHwX5Gq+6Te0kbE45hLD05PKECQaNbJfUWgyI6LQFM4nLuiyJp+YbtL0ZfkZmvg/LQuiqVcDONsaL1rydUZdIHKz1mZfyqndy6SGsM1p7HBen62gToO4VVA02sIBC8uRpjtLs7BYzXZlUuz3+WGLmOj4xPQd6iDywGqX0mVe9Q5O4VJa6guqYUxaT7CsksgvwkeFAzDlV0+dnCARPt6GF2AsFZ7KuKi01QGbKbLfNTfnKbQ5F9Y5zPgXBmCOSX5de0cC+zrszqTIUElYk07g14Oe/KRMJHR3LvOb5cDcZNqGu4/lzjVpIQc4fn7JkKCOjmpPMcHPQXpf7ZY5vUYrp/eKsE0GhEiSKdCIQlFdd8wH9/sPdOGFMGW0t0ATdDzN/Dq6Zt8vOwDQOeYH8vpPaw7E4alXyrYPxdYfHvmEN9jYBfJ1fVv29Oqp1kX982/9Num1iFFV9WeKC3LpaIYgB/CRoBPhe2H7m3wcYGEIfbaHy83LU3Gm6qsPQKV7s1osRhA9R3YnYlyJbmUQjWY0gjuK+Qs59Q3/uFLbtHsru18wAnHioG7bh8WqCWqcKUzhgdGa8ccawzuiTfg4Xo/zR1y/MeygIBm2hpAPKGvVmxx+WzzPpRKlTbEHdTsoMNhhuLYxD82txy7Rky6PZi3/g0qHWF1q8/mC1n+SoOPdVzicsYAwwmu88FSrmxjHWNwCCGB0j/OdlFHFlE+Sb3Gk4/IgxDLhG/jpad15+0Wz1HP2UhxzealSCUEqO8mFjxLtvRIp1GmD8hiD0KOgiToA/G11gNspkdIgx3MvqfP3kgWEXE74jrjyC/hXayGYq895OSmDaDf4vdmevXpvoOZ1XiEqBicbL5dQ0t22uSrPQdz9oePdCM6T7v89/fNMUI05F0CCgWQmqfXnL2HprUgJ+JJNNM8n0CLEI+ubEb2ItqVnDPBQ8r1RclC+FFtF6mp4p808aEcCxf85xllEWFnrLdWIaIJNB4SbvwjD7E6PwC85Cp/d84Vbsg+7QnwXulok+JnDW+LsaLH0mOZlHmOjV4/ynR6AGIGfjQHujZtwcQtp4CLi8eC2z2ptLl2k4bbwsjbmspmEFXhITlxOQhNMY55N73Jm/MW237GLUVBjKNCT6BBM6/Mp4SVpoAIw63uwIJyBwpPNoSHFyRJpeQP1hBUpI4nWkXkBy9pdINJMopxBGoruBlkcbbMQkck2C6zaWks//PYFOHSyCU1fMHInxZfqIt/kOiNvc6lQcQ53wUxASVtxAnYgxp3ASY/i7VeIX+jGPa08nZzBjHuJS/eKcHJ7Kj5VqghT6uLAjw1aYexeHVbSn21nra7rpHqoCAtiADvRTUZVxRuiaFYu4mlxwTyU5PcNjh/ixlWzdE1pxgY7O5A9dF+0k9zlLR2oC8KWD3ura0xYxJ/4wR9ZZzUjKhN3cUQ5rJSCwHx82VL6mAFE+WKX3CdiaIOsqQR8QlBZ3zWEJU/dcXL4uB243WaTTgzzkq64PRZ5I+pkWHlR6uqXmuVZ1mZbUlD4wedAprP/zq95AqYY8Ofu0ksBnkJgh3Sz0n0Uxvuhhf1HOdKKJbV3idKdwIHNeCEq9UrGyv+eOqOI7D7+bmVWaYFraXM3UGeG9GHEEOn3DwPZA4uXkJ76HpvJ+GVzTMlA9Xs44GT76hPjYg0afW8i/t6TJMgG74CvqhhgFdOhF8cvi9GIuQKKlkaBwk00YCy5474I8oBeZorFM1p7PANE+j+P1JV9ZA/OdHQ7Bm/yYMF38psTns44w3HPDytK6mP4+HSKAUnvrumknf1YkiPTTRDmGzGwyYHcpulK7rq7DZt6QQCEO/KvmRhdZ1ZkHiTTVW7KalRxCHDt0dO1WvPdAXSqaYvS9S7NxoAYfo2gS74+jHbYqBksCOLWqX1yvAOzgb53R2hDO5H0xTB+Ly5UalX6TbyU+uqOfatoHz8yyE+cPcjW1MpdtdSei2MoBFEScqoaZqeSg9dSszWVugVozFbkTaLJLvdl0XGFo0xeaiVzc8DzNVg5Y4tfJMqGS5ZOyEeghuT7eRtCfKi7CK9xvjqR+kwRjFYq5SG6raTmlw9zhMqDSJsXwnlC8h2w01RtK4ktvzpAHHkubX7T2KPfcMpYaYfjxg/w/AkpLARvw+okTLyARR22xWbYZkBaxnyj31C92yoPhmv6zCIqUsB9EPLBWhFtUsVMX5ZGlLy4+lJ31s0IVrBEFkcJ8uBYV7iSEFNaG8vD35k9tgOATZD09ooI6Qk+S0wgh2ZjKkZtEZkPkWnUEVKy423tJEGjRgCO/9hfr3c8b6cH1ONayFqWqQ894A9uVQHQcO6TioKEmd5VMoTRpV3nQew8x4bN5Y2xP8G91+JXuOInyrVKbnoiSSlgFIgxljxGLDHZ10xQUvPU8emwOuNJo1RXVDkXiXmzmQeOWQj0ECj8NwuQ2wqlGBOE3DPxKB9TAJRFZjKUlDD4ZlFgYnd/Zd8v6BrPgSJ66WWBwAmRFBs4DP4Kd8LvGhuzXOJ2tjZticqLCjV+it6CwLGXNq25nKYg9eHQfeQvicR6mqDmHHbPZtKS/GJfKr70Jfp7Tf8by+5fwcOp2b2DHRm/kvFHDPtB0tUOOkgYiyNAN6gmaycnxQWF993og978TWDgSA1czZWGUdJjpNTcZ0SOElaUrpT4KseLtNIx7acxpbhvvEoptpIRVFzdI5o6S2B72zL2+/yMe2ed6oC7h/uv2mGu+u1MbgD2bb+tpkTTFLUkgDahUNElneVaLrjWvTkjNyj0B4gQQDtMe8p/PfiQf4hhHIyKz/JDai7AaM+Hg3JEIYt6Z+eOQIlG4TmIiq2W83eyh3CnssPwpJmhBo1PUw66mOAjJKQXP3EPOwBg/DkIal6tRCdgFsaEmX60WiftvC7yCymtwiGH/v49EPWjOoyT2JUjgFBM2jzOdklb83dcbD8rWQA9yUpaSjiW9hcgtLY7SpXP/IpQlznFML9oCbLQKGlEk6I6Hb/S5MvYggZ2uUklYQHI0jms8Pse1pr7Va87jUdJ6A7esc+uEA0orlzq4R4yAqS47N69GbJWoRz5CYm9TT86BF9lgpV3Ca162v6ntHO6sOG5OUe12gHWzAKDusqLi7FkWmIIOaKyAQcEKOlirJY7TZmMpfwqsExd6UisYNEm6GU+7OhKzveJX/NBzkcal5XF9ifbD1g1brQW5SA1uwdx52MjZ1ykdU7Nl1/OQWp5mKaf0Yr/1UE7Xa7OFe8IyEtiMVbIvSyptDGhHdsfBipiiF1AJKX60OVd8VJA3C4D0rHd46wyWj/dFMfdaFI6g3mSs/gaJ2t13mZvUD0j1WEJXFpaRml+SmQyJseyd3mSP5eIHJSJxWW3HuRK0rSteyIN6ebva9UKHeSM90jpYaRiTvXrl7xVsCKlXkdsdV60JwEpnoDJB+PTkhJLkJyh7TGqMRkZ4My2EwlnEJUyj0WEX3wNHAlveT+euRbD4cFHEKuwUUXW6iIwkLA3YpDjuDFsNofnZbAZ8m/oLRSVy/GsBEoEvbgl0EKBswJ4SzAek2c+9P5jRgQQAy2eAZYob2+lF01wHlYZ0SPH39j34rB4fbCtQboJ5atj8nBDvdPF6udHCUo6BIiiM/or3ddNDpsfcKIgF8qdF37Mj0vVUrYImWd2tTHvWMcQ5uqSXtkYkoo1fRhp70z+GH9y+JQ8MTX2VbtKkYQNMA4GgjT37NH5vHZuRsYuCB2KoZpZD66q6AuVUZz7RBnZ0kVbjz9xFudSDgiwrmkRysc/b6UpRYmi3unX/SvJOhL74SbsWG0l9TvehpjTIGZf4cWJMUw2c5DKU47rg8tfAmuRDm+OY3WCRPgn/p4qX8WXqIID2bs4XihU6JQC1KvLycEG2y0Wfh7VE0gbszoCTmKknUpDkV6ypnpKOWYgd8FCV+mLqBaOlLyDlT0al/O8deWw8+sIRdu9kxTZdJ4P7IdRX8Ai/ANwdCZxNrBPUQsD83PIIwPB9vTzM0MPbEbbYxCA2m53gbIiEpntd6SxeJ7mx/lvO6dwPWHjG2CIbnynSlYUhR5vgerhUkMy9La1Xlvey2kDaZydtTgJagWO02ska9R4GugH0G8IyRVgioO9uhkkdFj9RO0D3c5CrMIwG3OnJYEa4WfiPZf0BaoytEDHIpXeNPLs6iyus3EkoDgKvWLej1yBN3KwIZjLYuDyIgjhJkc8fGDjEiHChnKkp7ENF75dMZNs94KoOyxiTC+rqbN4jNeaNjllWu2Fb1WiN0fveGfDvFrYvjU1k1aFW6Ffb+8i1ABGhOvJXLHii9fn+nlH+XoQ+oyKvUVFNq9PApiCGCt23Y+uFV6x/W3mvlCSH4SCeZp+y3bx84kvrQp7AmMTVkUPsckf8zIjcZiH3AvXLyrX+QyTyhAJRuCgLA7eryMRCOjosnvaTH1Gdi6hpv+ttGWW7V44PqHeuyeuoyJqGMKgVtkJP26VATjqLoHcAJKtfWJbfPJOzA7MxoGxP8DVA3lOqUPiYJC2w/Dz9CwexguSRS8HBN7Z47dNdSzMFqZqrse2Z/pjuraJBVfydAi46utY66odgejRJjLQWmdeC3/50ipQz+7syVk/IuNF+Qj6MinKxWoBJ4BOAo9jb6CHbZduJ9QRa3/omUYKjw8hd819khJ3Q4gqcO8WfsYYejyxbnzUBvAbubxwbzNp0eLi7Sjy+rVu9HDtBxsqes0YSqQb1XMSpp/fmYgcL51ZkPFKlqiSiUmcp4a6GDMG/OM2y0+/QmtN5fLwUqOqo8eE+kOYSSmYEIrEjWz6tgZE/fTKmmqbUOY3MX2TAD+hz4mceu6fhO/CIfFSS78CmcQDai+ZJCY9ClPiw1lRflLBAzgUuqwJSzymF+XlyFduroQnWGA5j2NxAoNcoElV4ijoJufUVwmxOl4/0ScvKGrQsextyqwjiYanujTe+gQ6pEDHyLiK1cw+s8EouS8l+GsPDIq5Ixt8fLongLik/yazxb7z++6n/PBK+sfgONiSa1WOkOURNZS5ki5mu8a9efWWcjc/NSBgNdvKHgmT97dmGUgVMh2GK6243eqHEvnT1MmwR9Xmw6BFyWGLtgv8ji55Mot383j08r0FMEV0oywgpC1ZcyFv4Epn+MsQoRLJ0izYCKrL0nWb2XjfkODrv2l5th17sD7Rik1nbYHCSYY1M90koeBKR/3g31usKqHg48IYI/Qbqhqj2YF6Po8fxipHFnR83vmSaL92Qk4WLJ+qA78XMQzD9Xyy5TQO77thgnf9kRjVkxoUQVOw0nqV+0gdI/DcTfEF1RpURceo57Xa59L+a0Vgos0jBAKwUHh/FhNXLH/rT1r9X82tdUAI/cbBR0AW7UM6LUxdPApDA67lJMvey/NeMd9DwTqeaPT+9orarJiTlOmZwHCpCgeEOuwHGdUuCRyWzpEmaJEISxGkgezHBsTPaeKkQKzLo9qyfSyIZM+gxP4CD+S0N15A1pJoXSmy1JwcbOERRseBa23pXEpIPe9vbuk5vBz1hbV9LUommNBmQibc2pLB1E/jqsK2Mrlv3N/kBrmneufVADOIp/N2VCbThWiVwkj1D7tWqK3Osuc+Bzs6MiU6b7gqzEUdjWUeTpen5ly+ckHVTf5/9bCsk+Bc5gPDfcuL/tenYjIKqX0MH3aSydTeBo4RonithanUB0LFRH+nKSL4APU+XjRP1uRERM0yLxtNSf/2Hf5x5peB6eysPosO9opvCOFadB2gZMzKPluaO7oQ+wXu5fBN6YOu59RbaCJXofC5tffY1iK5f7rv/kSioNg1691X4vadLlgHB1iwcpo9wi/0+Rcq/Ai+a0AT2lHqJYIXqcF1EuEfdcxeU2k/PWdXDFY2YD/HDa9q88xRPmAAQGPZ6V0CyzBW0zELUMY1GUuUdzzXgxYBOcYKag4qy9jnqkvFDESes+dy2P8f2ssa0X74iufKG1YdytusUFOxRURJmoRPKgfPnN9cHLM1MNdyAR52ZICC7RL3Iqsq+YTQI0VQdmL0Dd6holeykpU/DLy7/A24WM0pxc/wYcItg/Zjo08I7PzhofDfZhqmd4br4DBJaD1F3MA/HfyOop/UesYyBizzNgQlmbBNOhTiV+sZWvqNpV4NJ+AXn3+4FcXMmPzTWdzZO/P4e5HDkAL2KxxuhVtjH7ErKR0jqYY+FK6rU9l32cMeXiWFcwokKxbSxlcLmzxSI9qiiKBs09Nh8mmDV1L2UrMer8PW+FNkdCaUPVeoEzp/WDHN0LtNFp3qK0Z2v5pqoegzQ1/dwFAqjL3tToXhfKC5yGkGrwsfLCU0SqTlnScDxOxKQpjTGbpI5q6ukrJ/xhjL7lv6Bg3K2uMfU3Pleq0XUJaElBebGpaet/TIEvJXYcnsmN2TD+MST033pYFVxFqA4/zuMBTXuXfXx6+DLdh+wqG6A63wtvVMb1Tz0JWe58BMfvFBMRTPsFGNrLqKqqtoPiLulWRE//j3lIbV5Kf/Nd5OEgsbw+fXxiQssPwkt3m1k9J9kF9/YLhuzAmIrhEOJP5YcRMZjHRPHIeL7SGSDxJ1tFX726kcsiImjacMR5GFMlR3EoZz9nOvOqoOToHwckjM9jg/1fgQdn1uxeuIqBlmuekqaDJbRzsrYSp7Lcwp04IJZPK7k6JtLUIs4VBFj6gRP/2laAj2jAAREA3O/QEjmFb/vt8wqd+Ntk2eTsujKEgG5tI7KdrWF7oV0XNfvlTJ4mzDkh/3Pe6RXt3gNQ3o2reaUY5Ta+rXPD7Rna5XMJW8lKUALEoD0u/Y+9byE6GBa0HdwiaCbJHdiSXcqBTrY11xVLdIBhDC4hdUrERAkfpMLjgcStRJP9xJAcMfT8NBY5dX9kT39yawzttIr8zt6pU/fAPij3Ssl9MYLY/oRSR7V+xSRgvRjjQ9cRAdH3pBixlAQSZZJVz4Y6M/pN/ki4arotkvU9CbCxEV2JKWigrkdHbh3XeFjZ9vXlq5eHXmhEecTb3W/WpAOFbFDcyz46xf5F2sA4C68QtS+D/zT3hTc7kIdKP9caLMKPGBk5YrZ3pnd7XAyTzTJC6YE4xa4klKd6E5mKA/DR9R6XVFlVHNTEdsCIVkBGVpabuDbgQ/OY58MEOir/kSQUlVtF1SeynRxYbcCRwGTnWRuTY0OrP/bJL0GhLhh7yUVE+mBnREABw0LBrQ6q1LXBFcbphrwpyr24Q88bwJhoPS6688QbKOnXj52vpsOIwrga3A1VYsDBiV8RGuwXV4AIlssNgnJhCcMIH3cndoQcRq4aU4Vm8cFWIiytPFQ76sFpmY3iBlGLgTkKesnz/UmIDh02XWr+TmM6/DurmoaiPSC6geqPxBdsNExrtVl3vfIt9Vl1NYLW5X3eHkK6JNot8Kxgkus0AhU+07ehNvHa5nNTQO29pd1iK5/QqpM8qSAfw2VWUNq4SirhIkovu47yJkRcJ38hTZYrmTkW/iilFIAhPwaNLxAUOpNobnpOuprUo7/sk2gkre+uquZwMzrBEvE3139gAajxVXizH8+8j65fmuA+0LLlHFXdIPOdAhCyykOkPJiNsHQPgOQYAvV5e4XIsBLnIBN359+DH++QMpuyFRO5m2weQPrHE79RUljD0rh8T+RLXvEvFV4qXWN4E9/jEc4Nn/tgYj6JN6gj2of25HKeHgBqLvNsJmOaqO4uJtyONafSbl7rqNHlAFKMQvc2ich0UtGy80jWePsrcjq083t/A9HkYYksRaaoy5BTY88AgnbvbbVgkn6MiPGdre5TdWVf0qbTh69iUvnAzZdHeytnRC04+dPd+AslOV3zyZMW4HIb3nmC9P1ILouPPFYwy+4fkspe8LiLp+ERGiFYHGE+VhZfUl8IDGAlckfZcOumbvb9ehdW80g/9bwOcAberPRObBlEYKcmC2lYZcrAGbAmeY/gv351aeKJp/SVlYAnqbiZ8ndZtOm3eQtbCtIGs5p1OQcqwqA6rdlBhLixUtIBobp3Kuy70oWLV2rk6BtnvdQWO8TVfxkdGG78NanO0Rt7+cntEE1fHpcz8SFRE+Fz8GDGaFZdn0vC0GLtnjcx3SpjQHcwJSp+ib14hs5AWreadQ9Sk+r6BgTZgCLsBcokHtKc21bUO+6rHN6DTY7CbUJmoTkkBLAiJaJ+3ueh0Qf9FRCOpdYID9Mee5IOY0alpIDOBA5L7RPs0g4X7RdgUS/WPncwCzUedUijC4tuSVCI1nMaxwCR0MNiFNM1ntlVYHPRmy+NdriWiRhHbyeyEdoafox7Rs7+IFAWCJQxf5jo4LrReu89vM2oVC23fkBPPfBL3fwDklC+pMM4oFMhZBRbeUebqf8hG6zo2AWh4cN4+s7iZumR5PWwf5kujLytaJdpR4Mz8P5MyJkgP1xlkosGeLvi33ymZs1L13iHxzk40V79d5rPPcga001IHjkeLzqXX3SvCt1RpWt7K+FaOa7v8t9T8afPqApDBuJxnw4JLGiQnLrgw9h6oyZSbY3d0jl5IXMnxkIU4f62emN7aes1vc0qqt/Fph3ZHNjPTAfpRRimtzDfSLMumuWx/+NTaoIuVYYnPNytS3nmN3II66gO+UbGvYPlhJWDxahkenQ1eHSAOGq1Bp0d2oJk1fLF/V798Wisxb4Fa/jWreuIBKd1Qcz++S8PsN7eLr88E16QObmanrqxm1ojlJYauDqrTujVvKLEGf4znAXXUuMca2Nfk2/Ba6PoBLAmGMKIY19VRbMJMGta0R2yyWunVVww/te3m6SZBLRNV1CbsGZstQiCYTIdnDS/t8KVC3mrshADjf2KflSxBs08lHq3i3oF6PtoCrw0di3Tn9PvNbmXFmuEK/Hm6lu7ApIwR4RYu5Iyq/Md7dMxi+jtYwgIIwKcbdOibUplsWm6b1RbKgIypiXkQz1puKpkC9wfRfKlOrarT145ar/iPzTowwtWsXUjfaz11e5gDsNzAZeooUR/yORBtAftUOg3aHkk4KnD9Mimelley5iF0F3zHX8g7zEYwVyPzWUZnas08VtVNE7WN6oVt78gjmiFamf6zkIyhpPf5i2AincC42mADMneH9r4R9XpLe3mCwWl+UewP85OZbmo+g1OHz3eBfG4huoOerZ+wsQNaV/k8hkP3t/EsOl9MJGsMiIpsIeB+kUG6NBFcIfe98qCARfBdnxfwFwXJIa5cmPmHQJa6+7vZvM4YQ036xK8S4jrGVty2al5LAYKR/5gi7gCxY5zm2Fm4/hjUXlue07AginoGN+oZHFA2+JlQVgX8FRM9Z6zWvRR9mjb4waqpmHoTxX3awQP34GP2tzdp8ct4Gg9dEHNEDR8UO/9EoTgNj+gjzVRFo5jflRNNk0bpbstsacEmLiZLCxB2dcV6ZzRuCdfwF/ohgrZwyS5TqMGoYfX9wxlhhyMVmU2ZEwatThVgH8KNf3gEC8ITI4gaPqWvf5JukqsHOSxA0rGN/gZcP791ylpGtCMpw9JwfYheDmlr+bRz4Y6JcpHw9Z4Is3EejALi58frsoeUk2wiTF7ZpljNCUZWoH8jukWxNVnK62c6Au78aUjdXbRGKMIRRwLw/NrhbKcRZ0AgnC455IkVPg4Rw7rWB0sa0CC59C4kJw/PS7xsALe/EtmpM5lEFYG5Th7PhQn92f/L/dViwKfE0COJcrN3FCcABSH6eZxkQzeXjJE/vkDes38B7oCttNISEpZZCjf1hoJJKUBgAWitVndhU8FAhZIBoZAqcWJ8MJ/F+CAKuHTBwBvdNMD0UzwkYbwMkf5N0jL4GdeQ1SwJwvaGMDSuJ1Xqimhze/qqWib4UUb+3k09757f+kwkgYgsJWp/FFOfuF4ZlAMRBNSF1l77kXe2WDwv11e4TzHZJUM34vxBMYWaJ04UOzzh93ni4pmUc6siZrVg28XAZOdHy9G+vg8tu8yklVavhH35YuXTUXq+jG7rliXxTuGf5xspArpgtMnXTu6I603YjE2/ehkurdDhqNJVQyKUPmrUXk/xLIWUg5HcNvebjWDzz2sA9SGVnsXik6dnRdP9BjBAtSMnPPFdyXd+J9dyUOhG/mZMJ9iLFq/GJt75hwokT8Ns3RSazZLR6ECO8wzVZZjcJsdj+aunj2XuDkitcBPsia7RC93SS9QgciGw/9O4bmuSVgixPmP+k8O38nEQroFJPN/0QDIJGZ/jdiHffO24Pf77zCkM+XrMC7k+fpWEZSnGb1m+kBJKPpWJ6XTuO0WvDEqRosMyj5lgnKD1sA0ihMBH+1edVJd8md5ERHQVPD2wX6BZQQJQJLc6uFZZOM6mnrG1JI7azRczVqDiVZ60OrTqtWFxOQHz0JhMRHNLxC9j8rFEtkUZ4fTYo8eFchQ01fIVq6i4p+myeJ9OcXZvRplVRNSz4wXBVGOxgQcClpPDa6oIgdk4PfPcvfKqDH6B0Wn5yMfa1zdV/USBEciou2RyKkzxTvmCkFSP5nQ7Dkyrge6qzvW62mDB2AHgj7Z2UwtNUmmA5RCHgXH/23EDO4cZkvry7ew9mRWOtWP7alRVa/8MzkzBYA9ZiKgQuKeMU0e+pWclXl2OfD7A6BXitjs93rqjz4nUM0o9jiCRF28FsPo27qhWHGV68vGqqhdUxK0PKqe78zBRzpmiqfIML2JfdWeXR270njm+iT21hlT6Au1nUaaHeMWgXd8EEh3N17I7Z+fjaa2VKwn9B0eJyx/11jL7SCaKuLZO7oW0Wy5prO2t/oR+PxXlMFHPyCd4qY1SCawYSHgJhvGVS/1sJLj4JTVkBumsts1hhApj3tiqOlO95KJKInrNYebVbxUn1y6GpWoYislT/guGsyA+NP2dXMe6EcNbWy/hZbg5iGp0F04zcGg8LC8+RkS8Z+dmI841bQk8usyGRyBgKjWBe5zLbYfPOFyy/4fSPeLvnuhxBc2jXf1vX5gE57tLLFBsD6dcYl0m+EtMEeFpowgb8b4E/UpOVKs7Xzi5rC5th1/PwCqofZHZT4lA5HUHlko8Y+6gN+LIosenH4zN/1sOZOgXjCxJssIB/RvVRtabLZNPOFILx9AjgXDwdjqTHCn8OJlbczJcGlxKarNvN7pbcP4/0kVhQLbWWMpQiW701Y1k/wS1Z6r3Q/LCPQzf0mILUTEPI/3MwhY7PeWvYbBRtmhOQmD2sTwQW8/Hhv15xTSrHYH8vQTRWOl0pFY2v/aHhwdMjRAF78XuVYe5RBYW9bW6cp3p8xBAeuKiZ0M1x48okWPrPm0FTaO6heY0V8Nk55eiZCSq38eLrlNwMWGP0Nu7jBwwscG3XS1+w12x4WOCjcWUq52xgFXUXBtXjZXV+Nk3BaLPZrpVUoNAsfHZiniIyoawuCNoz2Vq6SqoBos+xqn94x3z6zneIGrFZH3bdb67iv8yPVT9ztkd2QQeuJx4YwfLfT/d82QU1LzqmKIclwkwc+xIv1/S0QkZRJG2gd8zo/lw6WN769w+G2lZdNEAUe5xXW/Zbk9Xqhg2g51Ao6+wUB6D8sOoym56Flv8k3vvkVYI+qmnHWkmqWOYO7qiOljtcFu9e925e8PYToNBMRIp3vj2cINU/TgIaTw7yamhsHhqso5cADpV2HXtg/zPW45JxoadjLF8eGx3l2bh2YehOLvk+WLNEWqnZRfD3Qmj6OHNdU0RZW2hOFnZU3mTuStqlQ7+SADNuNIo8hLCpoYwvi10qt96HsNGCaMl25OVE++7Ob2cdUSekI/8wuxpMvycfWWq7yVBF/RC4ysEAaMp4HahpE9BovT5yTTXmx5xBfzaSwlrWczpc2pnouA/GeKHVutkXfjrYN3kYsqpfPWXekxdWgnDo/V3UZvbrHiyXHBU67ROdqbQ33Q/Q9ldF3Pn6RIHSaLMUV4giIMiaScA2CsBLuuhhH1Kz4oJWWfPypRy58ChNq582zH1D0OHq+Pe2mDdgJydqwnqZic/hIaGDlqZOZTesT8anH02RGARnozM/IpJmbXxI0SG0Qb6CYz9jkiNyoZltq2m96AXu8KwYpdXyW6Ot9V/rfUN3dA4V1QJGQCG6p6Sm2sVd8qQ1Y5cpnN++YSz8PiaVcb1YADb+pLuqZaNJhCDM4yJ5npbPr5arATwtHNPSssMMkfGT7+1/Di8XSun5w75S1PLUc0VB/vtAJ2BxL0vB3HtbcinqF5M10KfGlmLmoThjTUKMvhABarS3K1UvH09ippE5fRKQk9yuMm55YZgP/uBjGCfV/9CBA6X+ILGY0ErZIdM7xKpzyz/H93lYxfQzsKAaGtYjA/VQQ9qBqUojPoZzX6OK2lx6PD87tCHu82PRL+wdsYSVE2vDDjxWL3v5clRlpVJuREeI3EFc1Jo2n9zHt4JEGzouIGkSz1FLq5ePucg0OBQRuSFNLLIhy4M077YzCTWrZx0S/ty3NJA5jxuL/MWNIjIxd12cljV38/ZDNo1oMkDXUWl4cHC+k4qNiIZqq9D5iAOzGuCQwmghqMMenzTZx8oYqSaFNYxlOsgEY3cTpnSH9ppYpqZKEy+nhb/B0g6edZcnTq99HpA5rmPLLqpc51ieQx3oYtan3vI8ZkjsArCBZG+07ubsjjSE0sK+xbB1WE2sVSiswR7DdrHm0DCsnUmG0QbKibU+u2+/JaCm04rnBfM4BsRVDZk2VHkqkt8pVV1Z0BSFHriwBOh8gnAH1N/R3aMJttTLgdMJyKARDeaBF/yF1NMO8kZ4teQvYsr52vo+b4vZMAzMsqGLcEC9uwIps0DoeX4tzG8mBUbCOrxqTtmvv0aJRz9ZOBAVUKVPc4RCXOzbxWNcmMQqJy24Z07B9CBtaH5UuJuurRcC0PQM4LscUAjRyADTrucHqm3XXZkzim+65kLv1JBSKv2GvDyAkLzvUHF0te2Iczw7aQhncjt84+9UjmxBqQHTB0WpGkJUacAyVAzOM8v8KZEDZSELmas/iqdA9EPiiuUiVHe33ezIqpc+MEt84hcIKOls8yZJUIvofMXtGgq9P06s6npWXBQuH33yUCxyqYkkS9HER8cEdR3VBYjhcK/fB+o7ZivAfvdTK7YTLaYl136973W4Bvm22NphY/SvTRT9Uf8pL5G4MlZDzB8s5PirznIBzKtQOragXg4IG1nSHZq43kAvFBY7XlHBZ2JBauUaay7gDWRT8EmAZvfsMioVnaaE+dOS3ENag8FtNoSUX+8TqKEETCE62U+c5NUzAJSSYiiKBTq0goTxcbeJuYgggAE2x5qGo2lNs914GLxn/j6bxaEIVunKO7h5q/YBJntx3hkhVi5bzjQfj82UpwaKxUjcrdauYlNSWCxAqIj2AB995g1fCljwhEtqJAwCAXQgvxpI8g8uyMdN9QKMDA+uuviKm3eML+Fhbr0nSI50RZMYjRNWLu3m1KrEYrNHLZ1OOcKFXaKv+u5YQJBJ9tY3Ti5d3NfhuOaMU9dSriZ0G/xYN872zZQAXrxFoD9zNlGYyX9zcToyroTcMcpbJe1FcR55yqwamq4ReuTXHYXjhvNqflpRHj8YpReDLUYU1cDJHzJS/H0JN2aZcQyRKr0I8Potlf0E4st2dHFytGWW33ufEUBKshJ/GJ4gQGLuZ4sb8yEA6+lPpd2Ls1/ycybGmT21OJIyw3cWYYVR+hzRN6MevYQjnCVExtzxNEpEfnQTGQjefibw5ATC7MyouP6vPbp4XARBrSV2rY7TawaHrRRBisFRjVTpYPjhhtFIaOa5Oxz8AajUzkReAyYDmfdNBqxMKBbTyXgo6yO64NBYqcX+5wONOAMaKGVV4YATtk95zzeY+jnEm0sLbrMT05anxytUN96ZaGD5WDRO9nS461DLhnXOvwoPhvxe3eXMILz4TSPPdUu+U9EHWPdhTuA/c4NJ5SJOaACe21b3qDif79OmKHcbK2ngnlJpdSyStGxY9yLVdTIXYkfS9NSnRKt/9dUT0neOKrPRNzcL3n+pgGiItZMQHOkPKt79Va0obD77Hb4nfvGGByVfiT31Q9Ep3W7AKoGiwUl1ZRjtNOuZcOLXT2VjamN//6pLqFNaq9XUq0XZMayLm0fPYmZk1TRCFpe0wTYPuKBY1w5dCmIYoSAkRTAaepyZjWETlylUeF4ozTVu9KPqG5OOAuTOtPj0XWKb9i35KWG6fVYga1QXWOIGT2JR6qgz0sQutBTo5YSG0BrY4eQHmt9fIqrn23X47fyD5Z9ivyWLkNTmZIgE0uWvqUfiGIE3s4bvmTmFa+mjIq4Mf7ss8ifdTGXpnidMXDmNkueB9IsTAL80Y4SNhCMjyHNG/EUebmu3zlKyryRRemvTZVuldrIiSOixalkVWqZNGnHYJ4ZhMIOQZAsVEF8iXWbR3whmv20T4UPRPYpBTM7YtL5n7WXh2PFGIHKbcfqqPqK9Cq6unBKmyVuYOnsaMLaUlkont4luXHYrGQd9LfIrlrzeWl1n7zSK5bMuThdt7clig1dIBz8+vMsAtcsdW/gLkpPU5/YJEUF5wUn8GU82Xm7azYvPIFwcdsKsjCMvnZkdAah63pN8i/LyZQiDEe5+LbLts85bXbSFQF3jLWKtNQ75WRVLtjXrG8M0SO7qOYkLWTp3WDpND8YZdZ07cl/sNwfAHpWgUNBacDw6A6TPpNTZ/v7xEq3O6wdFhR9Fe2JrBDpWoMgXbYS6hWJTq9vSeyVHLaAUgvDmkKZ3hl6vNPiLs7uASsezPGADHI5zfCUX7F0XPAKrWi1xmH401w398dZ1KY5sFv0vxCa3LmgQ2CO3/Q8BqC63kiGyuj9g58jI8kD0nHh4f5Z7bGzpXgepVGdjrjx77bfiCnfPOATzCy7PLb1fz57liKe76MSNRaSSAIiPgRUOpS4JujyTqtR0YF68eTuoN1v0t5lMKBAR2AZFAaQBKztahTT8dzY3xBag8DoMTQgbCh+xHiKNywAWHpMQ03+m0WRrnjWmN8RRyAUga4L5c9kTf0F5Ushz42txCJj2124i6cScRrVhi4dIItShQ2gK40TDLj7EwJnTrDmjeebEtSLwozJOKY0fCYAYt1Wlvp0QmHCF1/gAgjGbt5DvPgx/gL/oAo452SxUAXG09ml9Il6jJi9JbzxWqS1reh6zOxR+ekZbgE52Lt1BgTG7+c02Q63z2d9L0sKtenTwenrTtVHik+CakvuuFTQ1XatziCvez8u7StVROY0ad8v0PqidK3QlL41Ubeo8jyCtWcBiB39Eg4qp8egMNyphsdAyaO9v4bjfDBLl1HQJYBSmGhauiQUA4h6xIYOK7ytPCi4EBEnim8yeHda0RgalBP1eRdmsvXuSyifhr3m5LriYFEv7FGgbkUXxZsD0NUCihI3xRnOELz3v7fey5nKSDmqzmJHFtRgsHYPS2+jdUf5CqaPZx1ZuKEvgmvjamzniAA6lVjBsjn0oUsrCBoHZ4APGR393qTM1J7qDcU8LWZQ5lMckHKBo8qrnt78SC8dAqEpjoXb/BC9HIlG50kIxwQ/utoW+z9PF9A3mgQBuGXGkdGd+DL4YD7xxzogLp1A8HinugeFH4dG8ABNyCs6ytA+iiRtu5wzA5TOFabZfiSqHcJ9Fh3RzSR6YXxQfgPh2toY9U27qO/1gLJ/lsijHTnciXcsprX4V9Xf5GK5Mr+8WXFCTT9gAWb0cfa7kTzEAixhDmGujF15KD2K//fAieiXJPFcMkkyaHMySuVC6Bp0NtA0FPLgjSXHIc3RGP7RyRSNmKFquDrVY9JKYCq0Uax+4UfU9ZSXYoFUyoUyFoT43c/RwKt71lr240fA7/IryOX/InowDqfYUIo8GuTgrL/danqFzoK+Lein8PGXtFbDDQ+3N+q382zE8WrkrdcsAAflHhDpqfW3AXA6qYFb0FMaOALVjd6caxK+7Zz11z9lG5u87Pk06rqICST0rdBQWDBAKJ+VcU1DnXl7wljnHRVy9uc9apA7w+HMnufBwfsRPlWrA8Ur+VVsyZdxAlk+E0Ue5CIbf3fYMmzMXEThvOhyVDIlTJNMY+ofIQCoQB2uFxenaeiPsLCUiQMEwVF4fwdMHnugMuHFHz86TjfYjYjHdTCwPIVA8NUNrUMCgOcLIZs2nvC+BIztemVACo7x3xJw0ddEhHfcOAMiS2SpPpT9wwVDoIRux3eKuIx3igZF2jUXb2xh0mDbuOrzqMShbSRpn785H6RA2FF3ZQSBPlgHtg5RkgNhHyr2CnHoI9OgQPDr2WHycMaFG6hMCfjF8OVOBGA+MoGQfCXY/fQ/mxN/DrMtj4xp9llpj4Y/3ffyKSsLHdzHuLeAmtTr6AfwN28B+//DSwIZRqzNaQChJFM9b50UtFeMGkDisaBYfe3H0C/j9Kxiyymwt1Uhit11jN0CEOwCxTCcpDmh3yspJ3unLwdxmrLBEzJ04LgMstte9s1azC29yn7IG6d9lVcdTOUu02BNKXaaoJUJUHfHStDk9L+s7lOzUNT82shTp+8ZlP7yPkNP6SI2Bl8Y9vgxjLvQvvh05uzjj+u3N0tgqnJYdNcdCdoLKyLjUXIvSKFamtwDuZ73MG5pp0MFLSWesrfC//6DbLLNzC8o5uqLLov44Zs6gPJwJTEIfTzFbmesojAVjrAS5YmwjBXMdjW3w92vY6zjDVhwZsmj2lC8Sp7E5fSBJdkzxmGtpRD3og/h0rRNrzCPxZQzM9T779+tHxzvCYR64pVUAutMxfVm39fmOihf81fIy+NCGJ0Y97H1M5IOipUX7q5CmdHsnnlBfHHJxEze+gmMCQtiy5vjbUobdqLkmLO6L5gBNcWTq5TGVVGD+nJILFO7kKYt1cMubA5zcxU0oqWYfQ5omfi9uSSwiuIV80tUE87VCWoX1cZQj5tk8SxwDA39PpAJSndOQ/XZulQggWK1D8RvXpQK15/8+xoYS/hPwbZxXBe0x+KA9pupNTkIz6AzXBqVSiW0sXkda30uZiDh09J33Suh9dakxRIWZf2h6R5T7oKB+QZJA62JKvlMbVGU/tlQiMXCqK5SZXapv4VU+WsNLUvf86YjgpqBHw9gX9oFXE25XFP4PYXfE5p9z8f6CCLyVaspIFuTjd57DirRibSX0Go88rMYn8hETs3+EKNGFcEuEj+OQe155+QVk6P58CFR2PXxae1EIt5qBqLHaqF/nIPS4e80Bnjz+50kkjXXIb3WKNPw9lu9+ER59xtEJT/ESlTlEW9j4Wofsxph/lZlea/TIc4duz+4iB3vBjb9dDoqJHPzYudVkRQNOCNlwRfyj6Go3yLuKr9VVQHpYWTRf2Sba0eamivEMXFh6MnZ8U2ieXIqZ6B2YovrmiFo+E984uej+z1YxSHLkb+rshqYWPLO0WqWvYy2MiFG8C9NSHGyIrRdo0CGM2DLjPyeOzfKbgjwuGRwbq090sGfr0QzaAnlWUM98G4Im6t2OEPDRTdsJsIVYUNO2a6Tba2YoFpCRmsx7T94/S9uDm7zJUmKdIL3chyaLBwDt7/VzuSrc+4sNz9bbnZ2o5WryGmYee69omNMgJtRrV/NCKo8wiZ+6PSp+5YH2avIsUDkc5/7nLvvEA13ddbBdkdCNZXFZ0GIKdBV1tfff3Q9GgEsCS7xRo/2oG9m9RSLa2B2vuPByagkjlONTNU+FO9RgJqExQZs7gWjYia05oKlFVC1rUgV2QlnvZom0sEFBi7LNrIhMkc80MEBUkw+s0VY1Nzdhlpym8Ep163ruInKswyHZiK4/vOzMsmKdL0BRmWnU9Y2MfZiy+E1dBCdoJHiQvMiJ+JhatrG64ubFIBn1IrlH8ssUOhhNC3PaldA+Vsd7Zy4tAUOEyDANuIaMyvtXuQGjc7t8aUp3wQU8ki9+5WIJOCKohL5RfT+f8pFN4/hVoUPabNos9/OCPzJF7OI82QL3w2TSfdXtWhcFQRvesHcq8rQ6AL9Q+RPre1BMZECL10zV2o7yAx1OePw6NFYGsrmhEEk1v6ZK1xSh8IYcciVVFIk56B5XknZSntaD8whNnh2RuLY7VBaJopHNzP6jkzvnULzXvU2hgIARLaVTfhE/u0cDqIHE7fnTVoI12UlJfrEMnDlrKn8VG0Bg/p3k0Z+mqEdx+teC35ET2kQsTdWknUZbcQEKfirueJbJ6veY2I5xBBazf8H/QfbrFOnnwwzflSCuP+WDlJxkO/aNgcj96XGjSrBbPZylJ6enluvncVvYa7MYF0l68pHiAJLlu9SEP6RutLKsQ+J7QrUy+UR+V5Px9nisVwi5qqbzhjUkrPA//E2UE6qiZ3FuRMzKQ8izuwnbVsbL18NXLsxB5CmXuAc+85D1tq5ahty6uhKkm/xMiA1/Z1VWLGzJZaoIL+6j2V/PU7FQFimbhBCip8MGj9bmHZH+0gyLO4YerKt5kTlivQ02vNljwaCeeCZSenFn7ygYACwlpgWfKgAI7NVqsk+SA4OXcV4DbFhwI2U40nGmQXftSswBl32gBPHITWwyXEc8T/0/99L+FgmH+Lwq0HwJboUOWMpaE2FziX80yIsYHp3mu9lOB6f7xTbEjPQLU3368TJSp1I9RPctV3jD+QJmUz+n9ioSkC18xbcNmdj25ENZoENewPquKvG5sNGa3rtjhAka6AP0U8AXl17Jzwg3GH5vNJkAZsjQRsd157Ic3UJuDISq05sK4iJhFLvJ9E5xTBKoL203laGKg7ZyhwxGoUFrg6V9MYNL2IYnx32a0DLp9NFemb7Md84GfczlTtgzk2QKFCIqf5M+dA9bKDLeHurGhK6JZ4yw2EMlTFGPFGZtOKOtnnN9pYhK0Ian81mKsemp9Q8r1QHJ762qvogFudbJWK3bMBb1KnwEMUve+FZRAUFRC0RgPOZ8dutAUe1xBX8lMdHyzVfLx6uRtfJYv35qma0oxh4bZhDl4HtB1sqN47U6UX4dFlC3Vgxi/JPeXpUHLC8utclB736qESLVCNH5hjRa49GuyZSOaAyEyZe2+x++RtjfLylHQJvPHmUMKVDidmRXzseVFkKwW2SfyoGjkvM8mkO4mLYv08cI1/W1gj/wJakZ0YZ6p0sOaDvULivyOfuYIecB6/bKSjZeF7l4fSf9e70UtQFhJLF59rXawQq4qMRJ21Kg+8usTzQRV4GmKPmzA/toG4mkU+ljiu519MghHF7l4PtAZgP4Sump4KGbJB+C/AoR2V2KAYMDDpejSAa24K9DU6siV6mPDf/0Mr5ZbFHBxvqL5SdWBo04iubErbgsV6OAEyjYpqxV3d+UfNigfpubIgYKkq30gq4o8pOPApVbX69IL5gUlBm3hZV+PILx/zNjwoXXgPmmAM5Axd67nxLxPFjXkUp+LRUPyOGcrJbW43G49lcF1z6XoWZ9eITbZLkdYI56ySkxgsdgNd1y4bRtlRhHueD7s7rEqd6sX+DmrB+zn83t2QnS8+NYwo2hJNe5YSHHkUq6BHZWgPKg00YnL3x0hSdhlz4sO04S87X1sfF+p5rXfkUMe7DLDjtDyC2dY7wQ9+rmPImmXYdJFSsayOnvVrc/LHdqWooLkxFODwA+h4Ot8KGk933En7YOnA+BNvWfDMYC7y2RMUHW4hzusWptLZsr/7bZ+q3HmHeEdL/XtTYRIgM6oEe57QYC3/OJ8ge2fAwSPa9aNwPerroc7P82GGIHZ1bvnYmTv0kLkp/ryHSODuVdY80XCahYievIVOxeWQkGb4f1lAjpLrqKoPVyjzt3iqhBv8ZJ4BkveVfpnNjgmHPDvg3gJXDNMTtV683BWF+3ITd87W+J5QvVTB2ddkIfyvcMeGeRBo8a1bKsIWL4Jjf+RQH/0eHZT0l2k1ZVx3AiLf2VyOt94JSnlF8bcHEFw==" title="Mekko Graphics Chart">
            <a:extLst>
              <a:ext uri="{FF2B5EF4-FFF2-40B4-BE49-F238E27FC236}">
                <a16:creationId xmlns:a16="http://schemas.microsoft.com/office/drawing/2014/main" id="{7163778C-BC9B-4B05-8AEF-8EE24A152DCB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8287640" y="1791624"/>
            <a:ext cx="3565858" cy="4773016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CC0000"/>
              </a:solidFill>
            </a:endParaRPr>
          </a:p>
        </p:txBody>
      </p:sp>
      <p:grpSp>
        <p:nvGrpSpPr>
          <p:cNvPr id="44" name="btfpStatusSticker644127">
            <a:extLst>
              <a:ext uri="{FF2B5EF4-FFF2-40B4-BE49-F238E27FC236}">
                <a16:creationId xmlns:a16="http://schemas.microsoft.com/office/drawing/2014/main" id="{AABF51E6-C0A4-403B-B6FA-BDE6D8425D17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349719" y="955344"/>
            <a:ext cx="1512081" cy="235611"/>
            <a:chOff x="10349719" y="955344"/>
            <a:chExt cx="1512081" cy="235611"/>
          </a:xfrm>
        </p:grpSpPr>
        <p:sp>
          <p:nvSpPr>
            <p:cNvPr id="45" name="btfpStatusStickerText644127">
              <a:extLst>
                <a:ext uri="{FF2B5EF4-FFF2-40B4-BE49-F238E27FC236}">
                  <a16:creationId xmlns:a16="http://schemas.microsoft.com/office/drawing/2014/main" id="{7F5CD18A-1D31-4428-8692-ED101E5849A8}"/>
                </a:ext>
              </a:extLst>
            </p:cNvPr>
            <p:cNvSpPr txBox="1"/>
            <p:nvPr/>
          </p:nvSpPr>
          <p:spPr bwMode="gray">
            <a:xfrm>
              <a:off x="10349719" y="955344"/>
              <a:ext cx="1512081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Instagram</a:t>
              </a:r>
            </a:p>
          </p:txBody>
        </p:sp>
        <p:cxnSp>
          <p:nvCxnSpPr>
            <p:cNvPr id="46" name="btfpStatusStickerLine644127">
              <a:extLst>
                <a:ext uri="{FF2B5EF4-FFF2-40B4-BE49-F238E27FC236}">
                  <a16:creationId xmlns:a16="http://schemas.microsoft.com/office/drawing/2014/main" id="{1BB23129-964F-4A44-994F-7F5B5ECD1F7D}"/>
                </a:ext>
              </a:extLst>
            </p:cNvPr>
            <p:cNvCxnSpPr/>
            <p:nvPr/>
          </p:nvCxnSpPr>
          <p:spPr bwMode="gray">
            <a:xfrm rot="720000">
              <a:off x="10349719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E97A0442-A2A3-ECAD-D2BE-1C864CA8E76D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07177" y="2315415"/>
            <a:ext cx="294678" cy="253804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F59D663-60D0-4361-3FF7-8EDBD87607C2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618597" y="2290327"/>
            <a:ext cx="292450" cy="2487156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CC2D2C8-BA67-369E-9064-69BD8197EEE1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8797646" y="2315415"/>
            <a:ext cx="272723" cy="2634041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7" name="btfpRunningAgenda1Level188110">
            <a:extLst>
              <a:ext uri="{FF2B5EF4-FFF2-40B4-BE49-F238E27FC236}">
                <a16:creationId xmlns:a16="http://schemas.microsoft.com/office/drawing/2014/main" id="{045C53AB-41E8-5766-B957-C1B59D12BB84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0" y="944429"/>
            <a:ext cx="3901929" cy="257442"/>
            <a:chOff x="0" y="876300"/>
            <a:chExt cx="3901929" cy="257442"/>
          </a:xfrm>
        </p:grpSpPr>
        <p:sp>
          <p:nvSpPr>
            <p:cNvPr id="8" name="btfpRunningAgenda1LevelBarLeft188110">
              <a:extLst>
                <a:ext uri="{FF2B5EF4-FFF2-40B4-BE49-F238E27FC236}">
                  <a16:creationId xmlns:a16="http://schemas.microsoft.com/office/drawing/2014/main" id="{4F1FDC84-258B-FA02-E2E2-5C6685284540}"/>
                </a:ext>
              </a:extLst>
            </p:cNvPr>
            <p:cNvSpPr/>
            <p:nvPr/>
          </p:nvSpPr>
          <p:spPr bwMode="gray">
            <a:xfrm>
              <a:off x="0" y="876300"/>
              <a:ext cx="3901929" cy="257442"/>
            </a:xfrm>
            <a:custGeom>
              <a:avLst/>
              <a:gdLst>
                <a:gd name="connsiteX0" fmla="*/ 883475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883475 w 1816204"/>
                <a:gd name="connsiteY0" fmla="*/ 0 h 257442"/>
                <a:gd name="connsiteX1" fmla="*/ 828755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883475 w 883475"/>
                <a:gd name="connsiteY0" fmla="*/ 0 h 257442"/>
                <a:gd name="connsiteX1" fmla="*/ 828755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257442 h 257442"/>
                <a:gd name="connsiteX0" fmla="*/ 883474 w 883474"/>
                <a:gd name="connsiteY0" fmla="*/ 0 h 257442"/>
                <a:gd name="connsiteX1" fmla="*/ 828754 w 883474"/>
                <a:gd name="connsiteY1" fmla="*/ 257442 h 257442"/>
                <a:gd name="connsiteX2" fmla="*/ 0 w 883474"/>
                <a:gd name="connsiteY2" fmla="*/ 257442 h 257442"/>
                <a:gd name="connsiteX3" fmla="*/ 1 w 883474"/>
                <a:gd name="connsiteY3" fmla="*/ 0 h 257442"/>
                <a:gd name="connsiteX0" fmla="*/ 1051790 w 1051790"/>
                <a:gd name="connsiteY0" fmla="*/ 0 h 257442"/>
                <a:gd name="connsiteX1" fmla="*/ 828754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356360 w 1356360"/>
                <a:gd name="connsiteY0" fmla="*/ 0 h 257442"/>
                <a:gd name="connsiteX1" fmla="*/ 99706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524676 w 1524676"/>
                <a:gd name="connsiteY0" fmla="*/ 0 h 257442"/>
                <a:gd name="connsiteX1" fmla="*/ 1301639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684976 w 1684976"/>
                <a:gd name="connsiteY0" fmla="*/ 0 h 257442"/>
                <a:gd name="connsiteX1" fmla="*/ 14699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853291 w 1853291"/>
                <a:gd name="connsiteY0" fmla="*/ 0 h 257442"/>
                <a:gd name="connsiteX1" fmla="*/ 1630255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2021607 w 2021607"/>
                <a:gd name="connsiteY0" fmla="*/ 0 h 257442"/>
                <a:gd name="connsiteX1" fmla="*/ 1798570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181907 w 2181907"/>
                <a:gd name="connsiteY0" fmla="*/ 0 h 257442"/>
                <a:gd name="connsiteX1" fmla="*/ 19668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350222 w 2350222"/>
                <a:gd name="connsiteY0" fmla="*/ 0 h 257442"/>
                <a:gd name="connsiteX1" fmla="*/ 2127186 w 2350222"/>
                <a:gd name="connsiteY1" fmla="*/ 257442 h 257442"/>
                <a:gd name="connsiteX2" fmla="*/ 0 w 2350222"/>
                <a:gd name="connsiteY2" fmla="*/ 257442 h 257442"/>
                <a:gd name="connsiteX3" fmla="*/ 0 w 2350222"/>
                <a:gd name="connsiteY3" fmla="*/ 0 h 257442"/>
                <a:gd name="connsiteX0" fmla="*/ 2350222 w 2350222"/>
                <a:gd name="connsiteY0" fmla="*/ 0 h 257442"/>
                <a:gd name="connsiteX1" fmla="*/ 2295500 w 2350222"/>
                <a:gd name="connsiteY1" fmla="*/ 257442 h 257442"/>
                <a:gd name="connsiteX2" fmla="*/ 0 w 2350222"/>
                <a:gd name="connsiteY2" fmla="*/ 257442 h 257442"/>
                <a:gd name="connsiteX3" fmla="*/ 0 w 2350222"/>
                <a:gd name="connsiteY3" fmla="*/ 0 h 257442"/>
                <a:gd name="connsiteX0" fmla="*/ 2350223 w 2350223"/>
                <a:gd name="connsiteY0" fmla="*/ 0 h 257442"/>
                <a:gd name="connsiteX1" fmla="*/ 2295501 w 2350223"/>
                <a:gd name="connsiteY1" fmla="*/ 257442 h 257442"/>
                <a:gd name="connsiteX2" fmla="*/ 0 w 2350223"/>
                <a:gd name="connsiteY2" fmla="*/ 257442 h 257442"/>
                <a:gd name="connsiteX3" fmla="*/ 1 w 2350223"/>
                <a:gd name="connsiteY3" fmla="*/ 0 h 257442"/>
                <a:gd name="connsiteX0" fmla="*/ 2350223 w 2350223"/>
                <a:gd name="connsiteY0" fmla="*/ 0 h 257442"/>
                <a:gd name="connsiteX1" fmla="*/ 2295501 w 2350223"/>
                <a:gd name="connsiteY1" fmla="*/ 257442 h 257442"/>
                <a:gd name="connsiteX2" fmla="*/ 0 w 2350223"/>
                <a:gd name="connsiteY2" fmla="*/ 257442 h 257442"/>
                <a:gd name="connsiteX3" fmla="*/ 1 w 2350223"/>
                <a:gd name="connsiteY3" fmla="*/ 0 h 257442"/>
                <a:gd name="connsiteX0" fmla="*/ 2637161 w 2637161"/>
                <a:gd name="connsiteY0" fmla="*/ 0 h 257442"/>
                <a:gd name="connsiteX1" fmla="*/ 2295501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637161 w 2637161"/>
                <a:gd name="connsiteY0" fmla="*/ 0 h 257442"/>
                <a:gd name="connsiteX1" fmla="*/ 2582440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637160 w 2637160"/>
                <a:gd name="connsiteY0" fmla="*/ 0 h 257442"/>
                <a:gd name="connsiteX1" fmla="*/ 2582439 w 2637160"/>
                <a:gd name="connsiteY1" fmla="*/ 257442 h 257442"/>
                <a:gd name="connsiteX2" fmla="*/ 0 w 2637160"/>
                <a:gd name="connsiteY2" fmla="*/ 257442 h 257442"/>
                <a:gd name="connsiteX3" fmla="*/ 0 w 2637160"/>
                <a:gd name="connsiteY3" fmla="*/ 0 h 257442"/>
                <a:gd name="connsiteX0" fmla="*/ 2637161 w 2637161"/>
                <a:gd name="connsiteY0" fmla="*/ 0 h 257442"/>
                <a:gd name="connsiteX1" fmla="*/ 2582440 w 2637161"/>
                <a:gd name="connsiteY1" fmla="*/ 257442 h 257442"/>
                <a:gd name="connsiteX2" fmla="*/ 1 w 2637161"/>
                <a:gd name="connsiteY2" fmla="*/ 257442 h 257442"/>
                <a:gd name="connsiteX3" fmla="*/ 0 w 2637161"/>
                <a:gd name="connsiteY3" fmla="*/ 0 h 257442"/>
                <a:gd name="connsiteX0" fmla="*/ 2805476 w 2805476"/>
                <a:gd name="connsiteY0" fmla="*/ 0 h 257442"/>
                <a:gd name="connsiteX1" fmla="*/ 2582440 w 2805476"/>
                <a:gd name="connsiteY1" fmla="*/ 257442 h 257442"/>
                <a:gd name="connsiteX2" fmla="*/ 1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1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0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0 w 2805476"/>
                <a:gd name="connsiteY2" fmla="*/ 257442 h 257442"/>
                <a:gd name="connsiteX3" fmla="*/ 0 w 2805476"/>
                <a:gd name="connsiteY3" fmla="*/ 0 h 257442"/>
                <a:gd name="connsiteX0" fmla="*/ 2973791 w 2973791"/>
                <a:gd name="connsiteY0" fmla="*/ 0 h 257442"/>
                <a:gd name="connsiteX1" fmla="*/ 2750754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3142106 w 3142106"/>
                <a:gd name="connsiteY0" fmla="*/ 0 h 257442"/>
                <a:gd name="connsiteX1" fmla="*/ 2919070 w 3142106"/>
                <a:gd name="connsiteY1" fmla="*/ 257442 h 257442"/>
                <a:gd name="connsiteX2" fmla="*/ 0 w 3142106"/>
                <a:gd name="connsiteY2" fmla="*/ 257442 h 257442"/>
                <a:gd name="connsiteX3" fmla="*/ 0 w 3142106"/>
                <a:gd name="connsiteY3" fmla="*/ 0 h 257442"/>
                <a:gd name="connsiteX0" fmla="*/ 3142106 w 3142106"/>
                <a:gd name="connsiteY0" fmla="*/ 0 h 257442"/>
                <a:gd name="connsiteX1" fmla="*/ 3087384 w 3142106"/>
                <a:gd name="connsiteY1" fmla="*/ 257442 h 257442"/>
                <a:gd name="connsiteX2" fmla="*/ 0 w 3142106"/>
                <a:gd name="connsiteY2" fmla="*/ 257442 h 257442"/>
                <a:gd name="connsiteX3" fmla="*/ 0 w 3142106"/>
                <a:gd name="connsiteY3" fmla="*/ 0 h 257442"/>
                <a:gd name="connsiteX0" fmla="*/ 3142107 w 3142107"/>
                <a:gd name="connsiteY0" fmla="*/ 0 h 257442"/>
                <a:gd name="connsiteX1" fmla="*/ 3087385 w 3142107"/>
                <a:gd name="connsiteY1" fmla="*/ 257442 h 257442"/>
                <a:gd name="connsiteX2" fmla="*/ 0 w 3142107"/>
                <a:gd name="connsiteY2" fmla="*/ 257442 h 257442"/>
                <a:gd name="connsiteX3" fmla="*/ 1 w 3142107"/>
                <a:gd name="connsiteY3" fmla="*/ 0 h 257442"/>
                <a:gd name="connsiteX0" fmla="*/ 3142107 w 3142107"/>
                <a:gd name="connsiteY0" fmla="*/ 0 h 257442"/>
                <a:gd name="connsiteX1" fmla="*/ 3087385 w 3142107"/>
                <a:gd name="connsiteY1" fmla="*/ 257442 h 257442"/>
                <a:gd name="connsiteX2" fmla="*/ 0 w 3142107"/>
                <a:gd name="connsiteY2" fmla="*/ 257442 h 257442"/>
                <a:gd name="connsiteX3" fmla="*/ 1 w 3142107"/>
                <a:gd name="connsiteY3" fmla="*/ 0 h 257442"/>
                <a:gd name="connsiteX0" fmla="*/ 3302407 w 3302407"/>
                <a:gd name="connsiteY0" fmla="*/ 0 h 257442"/>
                <a:gd name="connsiteX1" fmla="*/ 3087385 w 3302407"/>
                <a:gd name="connsiteY1" fmla="*/ 257442 h 257442"/>
                <a:gd name="connsiteX2" fmla="*/ 0 w 3302407"/>
                <a:gd name="connsiteY2" fmla="*/ 257442 h 257442"/>
                <a:gd name="connsiteX3" fmla="*/ 1 w 3302407"/>
                <a:gd name="connsiteY3" fmla="*/ 0 h 257442"/>
                <a:gd name="connsiteX0" fmla="*/ 3302407 w 3302407"/>
                <a:gd name="connsiteY0" fmla="*/ 0 h 257442"/>
                <a:gd name="connsiteX1" fmla="*/ 3247686 w 3302407"/>
                <a:gd name="connsiteY1" fmla="*/ 257442 h 257442"/>
                <a:gd name="connsiteX2" fmla="*/ 0 w 3302407"/>
                <a:gd name="connsiteY2" fmla="*/ 257442 h 257442"/>
                <a:gd name="connsiteX3" fmla="*/ 1 w 3302407"/>
                <a:gd name="connsiteY3" fmla="*/ 0 h 257442"/>
                <a:gd name="connsiteX0" fmla="*/ 3302406 w 3302406"/>
                <a:gd name="connsiteY0" fmla="*/ 0 h 257442"/>
                <a:gd name="connsiteX1" fmla="*/ 3247685 w 3302406"/>
                <a:gd name="connsiteY1" fmla="*/ 257442 h 257442"/>
                <a:gd name="connsiteX2" fmla="*/ 0 w 3302406"/>
                <a:gd name="connsiteY2" fmla="*/ 257442 h 257442"/>
                <a:gd name="connsiteX3" fmla="*/ 0 w 3302406"/>
                <a:gd name="connsiteY3" fmla="*/ 0 h 257442"/>
                <a:gd name="connsiteX0" fmla="*/ 3302407 w 3302407"/>
                <a:gd name="connsiteY0" fmla="*/ 0 h 257442"/>
                <a:gd name="connsiteX1" fmla="*/ 3247686 w 3302407"/>
                <a:gd name="connsiteY1" fmla="*/ 257442 h 257442"/>
                <a:gd name="connsiteX2" fmla="*/ 1 w 3302407"/>
                <a:gd name="connsiteY2" fmla="*/ 257442 h 257442"/>
                <a:gd name="connsiteX3" fmla="*/ 0 w 3302407"/>
                <a:gd name="connsiteY3" fmla="*/ 0 h 257442"/>
                <a:gd name="connsiteX0" fmla="*/ 3555681 w 3555681"/>
                <a:gd name="connsiteY0" fmla="*/ 0 h 257442"/>
                <a:gd name="connsiteX1" fmla="*/ 3247686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1 w 3555681"/>
                <a:gd name="connsiteY0" fmla="*/ 0 h 257442"/>
                <a:gd name="connsiteX1" fmla="*/ 3500960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1 w 3555681"/>
                <a:gd name="connsiteY0" fmla="*/ 0 h 257442"/>
                <a:gd name="connsiteX1" fmla="*/ 3500960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0 w 3555680"/>
                <a:gd name="connsiteY0" fmla="*/ 0 h 257442"/>
                <a:gd name="connsiteX1" fmla="*/ 3500959 w 3555680"/>
                <a:gd name="connsiteY1" fmla="*/ 257442 h 257442"/>
                <a:gd name="connsiteX2" fmla="*/ 0 w 3555680"/>
                <a:gd name="connsiteY2" fmla="*/ 257442 h 257442"/>
                <a:gd name="connsiteX3" fmla="*/ 0 w 3555680"/>
                <a:gd name="connsiteY3" fmla="*/ 0 h 257442"/>
                <a:gd name="connsiteX0" fmla="*/ 3723995 w 3723995"/>
                <a:gd name="connsiteY0" fmla="*/ 0 h 257442"/>
                <a:gd name="connsiteX1" fmla="*/ 3500959 w 3723995"/>
                <a:gd name="connsiteY1" fmla="*/ 257442 h 257442"/>
                <a:gd name="connsiteX2" fmla="*/ 0 w 3723995"/>
                <a:gd name="connsiteY2" fmla="*/ 257442 h 257442"/>
                <a:gd name="connsiteX3" fmla="*/ 0 w 3723995"/>
                <a:gd name="connsiteY3" fmla="*/ 0 h 257442"/>
                <a:gd name="connsiteX0" fmla="*/ 3723995 w 3723995"/>
                <a:gd name="connsiteY0" fmla="*/ 0 h 257442"/>
                <a:gd name="connsiteX1" fmla="*/ 3669274 w 3723995"/>
                <a:gd name="connsiteY1" fmla="*/ 257442 h 257442"/>
                <a:gd name="connsiteX2" fmla="*/ 0 w 3723995"/>
                <a:gd name="connsiteY2" fmla="*/ 257442 h 257442"/>
                <a:gd name="connsiteX3" fmla="*/ 0 w 3723995"/>
                <a:gd name="connsiteY3" fmla="*/ 0 h 257442"/>
                <a:gd name="connsiteX0" fmla="*/ 3723996 w 3723996"/>
                <a:gd name="connsiteY0" fmla="*/ 0 h 257442"/>
                <a:gd name="connsiteX1" fmla="*/ 3669275 w 3723996"/>
                <a:gd name="connsiteY1" fmla="*/ 257442 h 257442"/>
                <a:gd name="connsiteX2" fmla="*/ 0 w 3723996"/>
                <a:gd name="connsiteY2" fmla="*/ 257442 h 257442"/>
                <a:gd name="connsiteX3" fmla="*/ 1 w 3723996"/>
                <a:gd name="connsiteY3" fmla="*/ 0 h 257442"/>
                <a:gd name="connsiteX0" fmla="*/ 3723996 w 3723996"/>
                <a:gd name="connsiteY0" fmla="*/ 0 h 257442"/>
                <a:gd name="connsiteX1" fmla="*/ 3669275 w 3723996"/>
                <a:gd name="connsiteY1" fmla="*/ 257442 h 257442"/>
                <a:gd name="connsiteX2" fmla="*/ 0 w 3723996"/>
                <a:gd name="connsiteY2" fmla="*/ 257442 h 257442"/>
                <a:gd name="connsiteX3" fmla="*/ 0 w 3723996"/>
                <a:gd name="connsiteY3" fmla="*/ 0 h 257442"/>
                <a:gd name="connsiteX0" fmla="*/ 3901929 w 3901929"/>
                <a:gd name="connsiteY0" fmla="*/ 0 h 257442"/>
                <a:gd name="connsiteX1" fmla="*/ 3669275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1929" h="257442">
                  <a:moveTo>
                    <a:pt x="3901929" y="0"/>
                  </a:moveTo>
                  <a:lnTo>
                    <a:pt x="384720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RunningAgenda1LevelTextLeft188110">
              <a:extLst>
                <a:ext uri="{FF2B5EF4-FFF2-40B4-BE49-F238E27FC236}">
                  <a16:creationId xmlns:a16="http://schemas.microsoft.com/office/drawing/2014/main" id="{D46D3DA6-D97C-B31B-9953-52D8FD435FB3}"/>
                </a:ext>
              </a:extLst>
            </p:cNvPr>
            <p:cNvSpPr txBox="1"/>
            <p:nvPr/>
          </p:nvSpPr>
          <p:spPr bwMode="gray">
            <a:xfrm>
              <a:off x="0" y="876300"/>
              <a:ext cx="384720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Influencer marketing</a:t>
              </a: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F09B8D5B-105E-1754-CA15-4C45B71A30C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4428"/>
            <a:ext cx="258172" cy="257443"/>
          </a:xfrm>
          <a:prstGeom prst="rect">
            <a:avLst/>
          </a:prstGeom>
        </p:spPr>
      </p:pic>
      <p:grpSp>
        <p:nvGrpSpPr>
          <p:cNvPr id="26" name="btfpColumnHeaderBox916647">
            <a:extLst>
              <a:ext uri="{FF2B5EF4-FFF2-40B4-BE49-F238E27FC236}">
                <a16:creationId xmlns:a16="http://schemas.microsoft.com/office/drawing/2014/main" id="{50CD5D37-7980-D103-28A9-9E4164B95248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8378296" y="1604060"/>
            <a:ext cx="3483504" cy="257441"/>
            <a:chOff x="8378296" y="1322005"/>
            <a:chExt cx="3483504" cy="257441"/>
          </a:xfrm>
        </p:grpSpPr>
        <p:sp>
          <p:nvSpPr>
            <p:cNvPr id="24" name="btfpColumnHeaderBoxText916647">
              <a:extLst>
                <a:ext uri="{FF2B5EF4-FFF2-40B4-BE49-F238E27FC236}">
                  <a16:creationId xmlns:a16="http://schemas.microsoft.com/office/drawing/2014/main" id="{B4F6BEEF-DEAE-39A7-D1D4-F76FF0443E1E}"/>
                </a:ext>
              </a:extLst>
            </p:cNvPr>
            <p:cNvSpPr txBox="1"/>
            <p:nvPr/>
          </p:nvSpPr>
          <p:spPr bwMode="gray">
            <a:xfrm>
              <a:off x="8378296" y="1322005"/>
              <a:ext cx="3483504" cy="2549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000000"/>
                  </a:solidFill>
                </a:rPr>
                <a:t>Similar audience demographics across brands</a:t>
              </a:r>
            </a:p>
          </p:txBody>
        </p:sp>
        <p:cxnSp>
          <p:nvCxnSpPr>
            <p:cNvPr id="25" name="btfpColumnHeaderBoxLine916647">
              <a:extLst>
                <a:ext uri="{FF2B5EF4-FFF2-40B4-BE49-F238E27FC236}">
                  <a16:creationId xmlns:a16="http://schemas.microsoft.com/office/drawing/2014/main" id="{85BAA74F-4D54-D266-D0E9-AB88CB7E9123}"/>
                </a:ext>
              </a:extLst>
            </p:cNvPr>
            <p:cNvCxnSpPr/>
            <p:nvPr/>
          </p:nvCxnSpPr>
          <p:spPr bwMode="gray">
            <a:xfrm>
              <a:off x="8378296" y="1579446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btfpColumnHeaderBox710573">
            <a:extLst>
              <a:ext uri="{FF2B5EF4-FFF2-40B4-BE49-F238E27FC236}">
                <a16:creationId xmlns:a16="http://schemas.microsoft.com/office/drawing/2014/main" id="{2BCD7B2E-3A1C-06F8-A110-2DD4401AA5D8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4344915" y="1259994"/>
            <a:ext cx="3483505" cy="620713"/>
            <a:chOff x="4354248" y="938765"/>
            <a:chExt cx="3483505" cy="620713"/>
          </a:xfrm>
        </p:grpSpPr>
        <p:sp>
          <p:nvSpPr>
            <p:cNvPr id="72" name="btfpColumnHeaderBoxText710573">
              <a:extLst>
                <a:ext uri="{FF2B5EF4-FFF2-40B4-BE49-F238E27FC236}">
                  <a16:creationId xmlns:a16="http://schemas.microsoft.com/office/drawing/2014/main" id="{C205B097-256C-9026-9E50-CFFED47CAB8F}"/>
                </a:ext>
              </a:extLst>
            </p:cNvPr>
            <p:cNvSpPr txBox="1"/>
            <p:nvPr/>
          </p:nvSpPr>
          <p:spPr bwMode="gray">
            <a:xfrm>
              <a:off x="4354248" y="938765"/>
              <a:ext cx="3483504" cy="6207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000000"/>
                  </a:solidFill>
                </a:rPr>
                <a:t>Hanza G’s influencer tiers’ split closely mirrors that of Zimmermann with ~45% Nano influencers, followed by 28% Micro &amp; 20% Mid</a:t>
              </a:r>
            </a:p>
          </p:txBody>
        </p:sp>
        <p:cxnSp>
          <p:nvCxnSpPr>
            <p:cNvPr id="73" name="btfpColumnHeaderBoxLine710573">
              <a:extLst>
                <a:ext uri="{FF2B5EF4-FFF2-40B4-BE49-F238E27FC236}">
                  <a16:creationId xmlns:a16="http://schemas.microsoft.com/office/drawing/2014/main" id="{367744A2-4E8E-2CBB-6C8F-D01BBFD8BDAD}"/>
                </a:ext>
              </a:extLst>
            </p:cNvPr>
            <p:cNvCxnSpPr/>
            <p:nvPr/>
          </p:nvCxnSpPr>
          <p:spPr bwMode="gray">
            <a:xfrm>
              <a:off x="4354248" y="1559478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btfpColumnHeaderBox275035">
            <a:extLst>
              <a:ext uri="{FF2B5EF4-FFF2-40B4-BE49-F238E27FC236}">
                <a16:creationId xmlns:a16="http://schemas.microsoft.com/office/drawing/2014/main" id="{638D4635-33DE-8409-BFA2-28253B86F5A8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330200" y="1251880"/>
            <a:ext cx="3483504" cy="620713"/>
            <a:chOff x="330200" y="849651"/>
            <a:chExt cx="3483504" cy="1178799"/>
          </a:xfrm>
        </p:grpSpPr>
        <p:sp>
          <p:nvSpPr>
            <p:cNvPr id="75" name="btfpColumnHeaderBoxText275035">
              <a:extLst>
                <a:ext uri="{FF2B5EF4-FFF2-40B4-BE49-F238E27FC236}">
                  <a16:creationId xmlns:a16="http://schemas.microsoft.com/office/drawing/2014/main" id="{BC87B178-89BD-8624-E954-E569D9D524A2}"/>
                </a:ext>
              </a:extLst>
            </p:cNvPr>
            <p:cNvSpPr txBox="1"/>
            <p:nvPr/>
          </p:nvSpPr>
          <p:spPr bwMode="gray">
            <a:xfrm>
              <a:off x="330200" y="849651"/>
              <a:ext cx="3483504" cy="117879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000000"/>
                  </a:solidFill>
                </a:rPr>
                <a:t>Cumulatively, &gt;60% of Hunza G’s influencers post ‘lifestyle,’ ‘outfits,’ ‘family,’ and ‘beauty’ oriented content</a:t>
              </a:r>
            </a:p>
          </p:txBody>
        </p:sp>
        <p:cxnSp>
          <p:nvCxnSpPr>
            <p:cNvPr id="76" name="btfpColumnHeaderBoxLine275035">
              <a:extLst>
                <a:ext uri="{FF2B5EF4-FFF2-40B4-BE49-F238E27FC236}">
                  <a16:creationId xmlns:a16="http://schemas.microsoft.com/office/drawing/2014/main" id="{CAC3076C-BC33-4682-6BAF-BAC81AB16BA4}"/>
                </a:ext>
              </a:extLst>
            </p:cNvPr>
            <p:cNvCxnSpPr/>
            <p:nvPr/>
          </p:nvCxnSpPr>
          <p:spPr bwMode="gray">
            <a:xfrm>
              <a:off x="330200" y="2028450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44490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OFFICE" val="Warsaw SSC"/>
  <p:tag name="MEKKOFORMATS" val="&lt;MekkoFormats&gt;&lt;NumberFormat DecimalSeparator=&quot;,&quot; ThousandSeparator=&quot;.&quot; NegativeNumberFormat=&quot;1&quot; /&gt;&lt;DateFormat CultureID=&quot;1033&quot; FormatString=&quot;M/d/yyyy&quot; /&gt;&lt;Font&gt;&lt;Output_Font_Name Default=&quot;Arial&quot; UsePPTTheme=&quot;True&quot; /&gt;&lt;/Font&gt;&lt;/MekkoFormats&gt;"/>
  <p:tag name="BTFPCOLUMNGUIDE" val="Clien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qFHiboAhnyFYO40OgDW9etHQ3Sy44XTVMcMC1tL7LmNH8lNkbB1Jw9nduKjj94yZw/Me2WqwClzThRPxzPfb7U0Ezc6ymFC3HIdD5tkg+WW9oEick+8eg79QfTstLkDjf+LQpZOqkzUiu94IsCbVXr5OpmnuG2y/lFonp6vSXkY7I9Qlrq6INlq4OY8/f79GtyG69vBipcHf6bM78PGESgxtO49+cRo/A70kPl70xje2NpZOIjYoWDaNFHwN5TcsPiKMFKJ0OfKxnS1LLuRDXZ1pyDDlSiuGe2MYW6FQxOCSY4eGJuKZr9LoK6/i3S3EFnnk1qTxg07+fCNkK/3hHNME89ydTA/UCJt4BtjTB9rdAhy1XnoN5MBDLbO/49CAOkK2RHBVYTeBWavuDndNicp988gOYOigNewsOgAJorCNP1pAKwoO/+KJOQC7qlZc9oDDBR2ju/cdU+IxVzxz+M0npsR24byNV0mOTS/pLxcAlFHfGDCak1E1Crm+sbgkcdAwdp4CBAsfwIM1UNO79w2AxzWp48n5T5r5IpTfc3lj0tsPnu4w1z7WVroaRPhVwHYvw3ltM/XXw+FLx4WSbSCtBNXihuUdwGZ1EBLiomdTWNHfGN35egidp+zvixhAY/KglzpfyaUoz1GoEbvff71nnw7lj+oxJUxvs7XiAhdtQ+LdLJSna7oSIhTMyhlIBT/C4EoFZXisXfPTXfq6xLO7WHmMsFAy+XLlBxNHVxzM24cSlFqL2Qbg/6pxifNb+TGtMt/kjTl5uslG7e0xssVGZzruWde5Dz5MQtLeSHceBT/VRm70fYta/HmmFghxs8QPkAXpwxphJydkfstRxodC1Zq1N2kNWIp08Ba+XeJXF+vvUO2AhQ3VNQJ+lI4zoeePq3gZ8UwZTTsXSfbEtTaaF57NOrUjcUgtP+iEGfrHq4tWu4a6dirSmO6pol8RsEq0ycGxzm9+5MARpuHoIK/Hj0as8CzQmHNCjorQQHUN7mtGz9uuS/zxulX8d7NKLTH6QalqpzwD45E7BkJIjhNjSjF7Kl5H9oluZZ0peM4zf5hWUlyn/YM4q4xdDvFYcWrIayDwoIiRD7IaY4RJ/FfL2sbv8vHze06hJQ1zvUCMW9RMd953VMzOoz0ZZbj3o4MAguyZhO/wxTGDZaT4Qku9gv8dJpUieeNlqbC9w/uB9HRICnswbBNuu9+Sbhs4es1X5Km3XjBuX0PXqvNZdeBeGMZ3ail6SHczywQ3fR8cqKLIiQRfruQP4IsYOHWAY64ik3lBSWLQnKdZm9/9j4TRreJzwewuhTEkHZLG4J7VwwhZRyXlN1TpePJeRjgWIgWvLEY8XTR4TqZD3bMJ1d5KDMFuLlhfacTGfkbSjZZknBMJ3CUND4M7BhsLaomukMRj41gTfMv1tUhG9kmEni/CBpTKI9bgRBo7vGG1YumIJQNSHQW6f6Y4+A45Rh3u+12kxr6c+9gIDRD9ZSMy60Hu7uFJvXj9MN+efwqkElpuqxK5A251ZKpavGMKzKMEz5cXCDrVJKTnpcThN/cxkLj8gJpBxVHgyLJfnm/pOq/ySupkPgrO24UHqQ/30bgtVIx4tNNznQ6vTkY/JauwMfOyma4GG8EIHKT8GwpH2jF6cBSVvsw6K9HZhF2cjFo5DmZa7Oq2zxPS6QEPP/qL3TRBX0l9h52w0Yib/p60Cj2WJUVTblqfeo/DJdeN5pVzZql0oLiGnv/CsNA2q8OJPTfKnFMbbhosFh+WNgpOhDPHgDwRTL8NAl4HCHbnotaWUyPBBjCd9Wv5Re7PJfceQ+E9sWj9B6Mt9asKfnjE7kKxxvbhDS6Amfm4Qpeoep8rYPLoOkocZrxxCM/oiIPlL7oaT8d2UCifp6gpU+7LATDxdZx+57JLasFhm6eUvrKcssC4cCfirbnIJyGVR1tQeLioPFRqsZvD4EErPzmt63jEpNkvQ/e5cCFXG476Alq4X/Ej+Xr+H5kBxUF4xEnbnczy/vw8WR//Kk1Un4fokVwQG79CYTQhemrm2uIBr/l3g0hFmZGFRSp4IAQPEM7MoaGXAkCaVV0C7NmwlXZWZjHQDiVsEEFJLvKIgMXomH6IK1RkF6SZx80hsSBaRyfJvlmDzjC757poXEqO8OfpvTLgO8PD5HdGKLWuWPD7tGB6WUxyjL+1LdmnxqTdZRW4Ygq1GY6vMkBqeOgGpB0ptYGXVMUPuLdpht82v3wcDE20YcI7Fma3uW9DilY6d6Zf0mQ0DNweRMQc1fIPlaNJbPh70Z8Z9Krgk6+5VAOUILPR6CbfdWqfUjTkF8dDRvl84pGi0x3QONkzbD5Pd0w9D7KXUTeJpBelkqtZMm4bnmlc13gyB0pFhIpnMdJ8M+RMAYyv8Xb+DBp5IGfGQ7sI0U3YcloWgD1gh+h+/lMBM6rj15tUubw9Xv0HJbBHGGwPxz416zAI3HkGcwSTMsqQu9JD6SY4UvFvxqesV2W5HSiEyZ2eXJj18BqSJjhMVB+HRgY8SKVcVJIpJJ9M9WN5A8bH7UC5tpOIDtToUt+rtl2+Ge9QrkLhRbUDqWaPcOtzex/MZGxZvhE6j2leD0L3XCxBPbBKcVxxGzgYw2to7+gMTBKMR7bwhYm+VTKaItWDER6HKqb1Xk3kUCMT2Cz7+y+afmJpBWZCFve8AmmqrcDSgUdurFkZL6zpVLWQF9NWuhX18dsyfz6mM4KX5Arlus1G4P73hNnOZYc9F5IxJZf6SVGevnQ+layag3iexzfM/yc/aJ5+Tu2hcAC9PDfozRGw4HjxyFQq5ycwpTaXWip/q30tRbnlqWbqI8g2nwWtEdHC6Qd3ZgiOpz7Vsa7QS1apbQJoiJYRS941qtZ4Ol+90K0SZ6AR7hCrZOP6ep6BfSYzVBxe1joW3n7R+kZlILAOGLbzqC68NFUd8ZkMXq8Na0x2tYTskBK9IdGccnLpbZP/U6RusjFTk4sm9D4jmJktGR4x3BSeFWnTXIq/UDTarR7rJAOouR6HYktmW5d/RlZe7bIC99sxnYneZAwKEe/SWkRsSxCR5j3Olmuy6w7d4OQhRfHDo3FOX4EMYP9WezRUmmABRK0WCleCFoEMnIj1kYUNTg548XM9y31wW3kpCMOC2iP8Off1opm9A5kB9f1qzqQ3Z3IpV/fr/Zqi6iTuTsUa16mWNSHjs/yzhWf+YC6nPtHXc5/nJj7CnUNN8Bnkz4Pt26v2WX5jo+cXXfRf6F1F/MFGszR015ffx41HnC8v/OA8UgYOwjhh5dg1sepSCfhDl1W1N25bYgrrMc7Elci1M3jEL8F2lNhebVueJOVEWO3CCpyvBS5gfDRDm/OavkF8On4KfYvwpZNSGmwqCuzjf/XMCABrc+kdgbBzRzKUPcdmXvltp5M7vDUplkRvVXNPLxfaP+I/G8sFsZ9FDKeMcNU0JteGcVPIwoaWM7w8+bD8HeG+ax4SLZxEF/Rxv2LTLK92xUvLda7QbMNnGmgw45QH83p8O9zmoNmZA/LYU6y2Iw93/owbnAEayeKF6ujh56K8f2z5Tje/3ITQZaBpnPeodNcN8hxXJWIa7wUWjNq95czBdb5a+E39G+sqParuHDgMcft1/jv5g44eP02WYZ3MsiOlCheZjKIBMJlWCqKrAj+A4fPlJGovOKgzV+Eass4ZBic2mAl00PNtjHNa12kLsJVXg54TjhAfsHICH0hjAkjlY2OTNaWeE6Y0TNuOsPuSqZbYW61J0V43Zt8ZiQ6RFBtxkYfgegY7v9u2tkUClZIuCJrYhFGyhU8TOPR8YgpPQn08ddXokI+7nnNKhHSTxqJRD4rqVsTw48J0nDVbxtpghekFg1htzDgtsJowdos6UwJJ9A3MlY/XOCZSkhJ5QBunU7hb3s+kBGmuWKgDQvUx7boKLd4YTw2f20zrdev47K1P9tmCIZno+wMYJjPBm+ybrO/pzIbZerk7GyvhnXMP41QgGg+rehCxLvcmRmXZbxWuuw/iNhjW+xvvkFfZSwOyw/QzKRqgqoF/VTRlbWs3wMtGamUAeczf9GHhGkGX5siJv7goqvekwRzcXAQDUQD5jVXwaFZW86Br70zGhKwMZvkf/DztKM8ufm/4eXEv3kpeXbwo63VnvfcLEYEaBPwOYGhUpSUI+tQ9RfnPtumNpIBxvIycN2H2b3LEiH3NmQ/6QzLI61jLczMUj43rbWccYuHe0dOZS8Kcqp/b7QdzNqLAW86x/QEBfcHY6pBwe1l2z9xsIUtgK1KfgYiLmsAtKl9n3t8bcFkF6TkaEfUXlQUf7/9bFo+9dpebuTpr/82bCZpJYenEccImZBko+GOdrpLlcnDCJXyauuitT6LfmOaUpN0jbdkHbnjNEjfmzupDrERNq5IDUJ53jRQhnZWNTCST2pAqcUwhvX6vhPcgMEJUnRf+PaIZV+AlY43DosjbJhb9Q50Bi8H+BSOXC+NSTLLobYcOsoAP47fLUbF/ep95qT1c4NUGr/oZ19K2COBCH4UoudP6wfw4PcGExO7HsK5X933vKXuJAWPPBJ/t0GaRWFooUFtBsdgGL2mygmldTworQWcFAgccR+0/lL2khBaSwOEa+UH+AkhTbuJw/TpzyzIfLHd4ML26oNK47jKOcp4aCN8YxTG09rtySSCLNvuUOOJYm9vveKNzeme7y7QrPSScJwSZC/UQi+yRjyTHnPB8wPZwAfktQ5F/8vtpnPOaFbY+2qZSqxoYW3mbHgqX32p2WsyDv5G+M6jAv0+fEo/+e5mmtu72CVJ9nXgqFCxd2459VnnmG6mihuS6OkWHc42Y21oXaArCfuVoSzNF6iGX03sCalGn7HvyONAFN0236AlDfQnmvEPF2iQYsTDUURPeKlw3oZ6eIi0+h063HteCzoapHTeiT1N+aUaISA4wMCz6X6I+awO021t6056V5RSpNF8AZAmM1jlawLaaErLzemlHdtAmB5scCqGA8kvvozQ5AZc9RFa7IHeBDwmVOEn8nR8jEdOKLEDqkm6z++REyIJh4Z1J4S5auHPLjaVOIbxdanNY2hY1fgpL/QGJea/O2RrPOu4ILDXY6XK61Bn3JrBKLwenBCIa/d0iob4qxDz+SPEigm7+LGDWpmCfz3seN2sQ6LSoVCgv03djaNEdSy/pFeHvVmk2gnb4kfGToWlc7hsGmaOjt2qTl53C63i6XPP7OTYjD5ezuF9cGI5age6U3uU8/LDrq6sKpibOjP0p/JLRsFTwkxZx2/rlCMnP7LKDigMNUPJTTe05dZwpCqXOa9OQyX+xN+0VGVyqgCAvdKTottKS8CVGU3AvG2DYgt7lf2NZ17+OOrva3CQnfP2u6//pLFM4tHv8VvjjenIBi0MH2h0vKQiKSYO6vQBKDfuImsn2SrRaLIOQifgbRykWwsOJu4seuvUJ/WTFkY5RGJJxKCbraIIiUNdHfm0kG+cVSCGWRV0mFUR907DaiHsqATh5fjor4vvA9IsRG/p++UfbvoEc7OdIADg2C8WTNfh9sruGW047KFkRy5X1q5WM7Q+AvAiWsLZ0QoT/Mk5ALLuGdM+mMAeFsKqVLebJOvbcUEj+hZVrCysUG63ecix2AI0iyss7c9U0ca20LjDKLQwYO2A4ScrT5xfjp1SNEjJKaboq6DM0wwJBOWMAaW0rJvO68dy8i68+zg86cfT18U6OdPNIkCnW8guBQZb08tk3y0F9thsBbWKeKmBSpWTx5l0LYhOhzVKt5pAUO1FVZN/OfgXCRGR2hKE8ZizYc3NSndTlAjtrkVL3e9Th/DxwG/wwVjsnphdHrMO8LmnlzTEKJZ1dX6TqTNxHqyr/P/ymCPwl7M2qtiett5C+fvc5pq3ZKkMVX3Zrn4XqZ7xBw55cgYZm09s1/jsicJFIBad3le5eHeymqjb+4cOEAXNGxW76sZ6ftl4FBwBQcvUQHgyEZ9sShLK4E/fOMI96VEaUAE6uGxQ1Xm9Uu3q/LKIDJSw+8/qYpszMTn/18bwVKbdIqJCNeGddmPHkKetYjnK81+7twND1T7KNRE52rWEBsJjlwKhahktvjX1BeO8J/+Snj/ddvJSzGW+BP3fK8awm57bhsW+qKSqQuAOGjJfNv+n09o2WE7/F6+OgjHLAd8NtmbEk0gsOaF+/GzGls2MhfMe5L0NW56VcpAg26T0w2rxrzs/AvLzfOIzUish6qTZN8guxT+YvBgBYXRKBZ/7y2folqRjq2UqVqWfG8N5AkwbG9ldqmRtagJysrWrdALth2cxg59q+7SmOg85yjTS7Y/DbqdPVuZtZqH80NPhoA2QkujTQMKtQKXfMmPKMqtyv1baVNLEXT9FNApS5o61CAdUED2jmujTwSDnFoU4R/i8W5JBmpi8LiBrjamCOKHewbSmvYSpv1PfTLdg/BMpVk5M+ZwQHNpOv4gUzxCVAGz2GmKphsKuQBqfkt9FHUy7W8fX9RTi6KKIjefPRWDe+LOBetKwCFIDVjGqL0O+3DN0JbRMIN5932+rfvCl1jIZlsGMWhAgWuotZi319K2ayZJCkJkf1UCC0Xgx3OQf1jjolO0EkHqs1FEJoqr2g8MO/ltjrzO56qozCZCJdLODC9ewFYpplMsCztS5nx88rEhlzs5hJPIC1zCaJ/Vu65B1xDCwN0azOE2najKoenkbogTXdAV1PhYHTCfQG0sLBP6XAHT5e4/3bo7Nk3tRj9Q5hdZA4KXyphVgPaJxrwetiUbV05cLY5Z0wRXbHR5pjb5Cxm+kMR0kQlTE5rY4u6bwZQ9u0FJHAJqjFuwsKihqYycR0poesBKW+G3seAtdDY7MM8OM2Kn1QojYKEkSxdHDIuxXowmT5SuE/w4XoD+NL2DrMbhEix5VaSun41Is+ot1s0B0YvPKdivEhnIH5dyua3rY9OwkM+MlJJUUNuCmYhG4vrJwY2k39qHrR3Yw5witp6e63KPPtVOXA+MGwwMtKYexu9bzkpvKMvcZqWfFY/Yl/1Olns5I3Yt0srfbOafBKu6HC0q0lELi9NTreuiheEtUJnQWQ6UOTmvRYRrC7RhS1JerKZO72BnyW4KdJDzZJuH4/kIP29N7fvoNhw4WGVkHXOAYya4fqnV+8YCpMRgoyDVew2vbE7VBAYhuPCuG2njLr5i7qXFsOtAC3ab4ws6dE7ojOtyFhn0tHGeFszCIFd1QZiwUv1zpG8LZkqraytYyV0gllnXlSExXvss2dMxjJA0KfQxtM7s6vSp8hgv/jJNKHeD3NokJ6kQNMALPJNlheUeDF6HslIFl548ClITKpadMBHP7V5wy9Sl1gLWI8YJ0gGKwK+/WUglUcXzRa0OIctKCMpXrEy/3SMmcp7OX0FxyA0SaqQ3Ihjk+1qiDGObhhcPljmGPDNuAPydU3YyL07Vf59OFzjK2o72yDszN5v+fo1ZuTx8nmWXfQUnmT8VRtgbH6mX6Hdm4W3LFcdarmFqhHck02rQjfBbMXvjs1DWPwSbnSxEzV/ocf7BCnwny3xSpfHrEOCeeidLmJu87VIryE34cdAQ8OhT8hDD1iQ6z1wFCVye7SNmUXeOU2vYRFC73RGEoYaeWJ5LhWXFsroKm3Z7JbDJ5tFHmgk5sNZfbqo+BD2g8wCtspX++lCyWAoVtD16DFUGjGz11Xnw8PIuC/9ptB6B+rf2VNQHwz4okJDeyT2VAhl4ydQolXukrmnIAlxYFdsy2RmcsIRppNvFpRv2UGRdV2fjCo0SVuZXnErcUxH5dmLc8MbJ/QgGLIZJUmQRRRVRj1tyPZTVU+skPSTlu/Wba+16oOpKSrQUsiquoB7M6AX9X7j2cCHN4uCJSrmnZiqKlCxSPQ/QtWdPATCg0ReArb+y2HFMhunoo2oYGn6TUz4nBrVdUxq/DPhFiHHos8y8yXUxY85hgGW9gSvHi6LL/9b4XWAAe/O5k3fsnmoH/HQnCnA6bCe6SyL/v6PBCBAi9hZOoXnpEpI0Ohs983ZpOzdE5Fxtaka4eP4jeR7czQo323plBHF6X9DSFvUWuL9IsG3XztUU/Fc/yfOHVbHlyULFIkQpSjl99vVfl3LoTG/zqoO/8slz7eE6l3aTpf61fqtfHf9MZMPzIlPYrrJmcv+lcI6aHP2o/BHK3ElAxn/JDkpZ9hSHOOMbkUnl9wfqO/+ZZizWLS5wRKTXTg2RSjsc6C9ctkI62fE+gb9VLLzi3kGqDBZMhWomm6CroWRIBzlon0oAXYAtEkfWHC9C2X4Ylbjgs1OFVRmZiMoomYLyKLrd/dgJUDIPL1R8MUlWLwdgTv24/BpYvmxgRm+bxAosS8DF2BM9DOpZ/VNUqZ/0BKlpxXBdBoKPjauTsbxKZbeJ2EUBE2AFh7jhwTwIV6F8qFbfQie9iQeNYc5nd23yPatQWDRjJeKCIpzCs7/pCQ5MWVyKjsPpo36McF0aM2LUKjTTWnKzQTpWY/MYZLnzpBa/KL2o+wor/CK6vhGK+W0udx1Oc8HsUDBL3aR5eoxuEyiQ7sn1cizRDwVZKDwMoJi3bAThq0TTlIEGywoVqVhZ67v3s0tph9Q4Bs4xRkD/JZ6Q7HsKKHBtKilM7ztwtyLRE9Tn3Vu7waeiDEB1ttZXWJxQgMnL90qlHy9MIe2Sj2Fw6VaZXvCu3V326zqoi7nYORyBvbh5DfNNojvc2Ut9DgFb1DWl8N3SrSvBKvn3/RQA+TjY4MxFBR1okpBdd4jF2OsZFLjubS0X1JKsWcQo0ojTQFhhDh2BtS19ak8XawDdjEYHoDOAlJCFYaPYgyHRVF2qw1AhwQdi3XPDUYg74DphK2NGVe2oe/BXLEAqhsALk4Q6Vh+tnx0zPYsWHhGenUwCa33NOr9OGqGGmsdK5wFTpKCSgq1HauS+YD7vKFllzSy0NDhfiLUWecvXL4UPrW1oAEX7ymlm1B9PsHfF8P6Xc4rIVRGeRCpDl6C7o16bAltxhWCbmn4kyYEeIH2YUS3M6voyhPEiKCZvWaun5qOVC429HDuKUx49H4uF6rUkAva2bU4WX1TadRLT42vPOWZ4AOIiurPeAB/jN4Yn+H0YRq46eem5/lIW5pFZ6MrGwxESMlkVq1NypdyeTd0MANmwJoSFsVrS7V4r1iGM+Jz9RRAIQZZpR/XvFP8nRfaLiTzAQ9IDYgyTY3/UP+FaSXpxN3voqPmgFhyqtK9Cbany5PfeQO8SVuj9L0svoaDGb2bhVEoZIDz5Tuo6c7OqTssORgBqp1V0P3vsegTmkycYc5sSNg2d8Thmi1UQ/XJ/aZ2hNFjJyDSlbSxYYVeedzGOonq3J+I3m3xWJlg0kZHM/sOnsFJ7ocXUoi2bXa1JbAz3UIPqMBbGut/c+AGOWf8riMe/QjiRM9ME8UKK/W22TvShiaN57bCNXqg07vsUG3qVvghg+CEhDvknNDwbq5kIVfzclqgQRZKvUjJ2Zv51bvcxFsMYL+zVfSNr7yL4rr3Rl1IWTPBSbmfV97ai8/vB+LgCkU3AOg865nTIxtd1Ow6plrPYTJ89xWaGqY3N1zchsWunv67aUOszGBS8IxL+0gMocn44KkG7PGTUfu2lYpxQuaa8VGMqoCxn1o5WAqocvlXV3xirAjD7xpV65LEEOM4gH/K4e3KcRQqzvuF0PPGnBsisW9yfa1G+ceA6aLQl4LC4QAI/xzH9qsNHtWFZ9gofgkw1Jd+Yu+qQyT9Yf/a5gpZgs5E7GRdS+o7gEdqJEzuxnBdYGO/b2nlydN2r83DDQjRfMOtGxhI2j6RRAN8E5rJcksh3h+bgkU4qr5sAqxlWiXiHEB/WhGARzl8lWkMWAJPYozBNhBsjsPb58Cjy8Zadp6r8KXK7nA6aPAAYy+FNcJQY2ZYT3Xd1wfgGvivIuyxERNOYSFHJpUSYRcBjJ+4N9YpZhu3QFYh7tzvdPFKsyhds9wAfHs4UYg+XaaZjcHaZEID6/D0PBQ3trm73RDAVyQIss7Lm8nPDE7uyYQPcQTuKXRC39R9Mi4lWM4eTw7w6TBlW9YTVtvWUfTGSw82ehF3xyMu2+TcUmwK8X0LVonJXLwYQgQmJv4KxrGJ9vw3QWbi+bisXEXeVZ3EoKmf5d8VNUxCO1h89+lyLSGvARiGNQFluUaRsja6Yh/d3J7ExBBiXjyQBVri9tnHdhLmsIM47usdJlQ/+VyY0iYAkfWs1seC1jYprB+uYnDYtp8FLbkvDIADECWex6IG3IerheoYrUml5cjqoG2pBRkl5ZmQVyEOzhW5PUkKH5sfd4FJWeC/4+DqqXd1WMgODUPTFSPhj0s/l+8pSURnlyTCRqW4iHNfxFpS0dum6l3dN+ht9WKQlF8IcdoLNHkUhWX1+rheeNPAeLPnuBe6Wk6kpbdCngWU8AXhQmNQamJT0Z9+ARN+tBb5EfhOaVWIF+yyZ1tPgON5qbnFpyf6Mrt4XP5pjO7C4N91XRB9SyIAHrclWJXBZSe5JvvUtgXmXQbaU1nNn2KsJCdum/P0nNje1PwSUvA879HSt+wt9HtTGnAXzWZkTPS/P9k9Or99pJZGBHzGo8CcykaHOHeoWn3PpFO9h+29EKAKxajZ4bmaZqNNshW6tM4EBpVUGh7QkDzZtCnZDq34yoWd/kXsQAbCchsTA9Kk/JTwRi9e3If7XxyFqrEeF2efvRT705rdnV8wEWYiHs4GRuw3w3msW8M7FW4FEEkyjrEyBf+SSspYX9myNwYAB24BgkAzfEagEfZwVbzaNw+d2i9vokJ1AMMqAzIBPjz4L1Y8/7bWJVgooZ0XhPq9oY4VRF2U/nSNLIuUKYZZ30fJ7rGZ5I8BhECNiaovU7uAUFvL/no20j2FPGiKrGvcdX6Yr3t7HS4YaCxE0RcdEkudFpYrHt5CzBFKP6xs6LvVFK6K00F2+DHoLNnqm9dPM5bMsvYkFGgDhaAm/wFpDb6pTyzs+KhwtQBDUgNap0WV5ULLHx+h4Y7eTbQj9d/TM5YDRVjf4qBCR4CX7qj7loFYH9eXZQojzvL771B/vn2E4vdFl4Fl3przdXFreyBR2AsKUujJnnTpkapo6DkCwQtgTsMZvXVSKe7gLnStrbWNfjVQq5kgAZZjrRVoBmPGDu2XmYwANIzHptfHVi71Ksdy+eXufyeKdQ9uZWftLKEDt0PemAk3uw+fFNctlksFADn2Rt84BdIcLC9D9DbTzS3wa/sJni7HCzT9o+G9ZlWuQgY3bd0HJByhTGuQL+EX5Pq1XziWAqEqJMiHxTJ1jkKPRIVRtkH4ccMNmV6U4KBLiFzuuU01/A6E3dYTZzA9mBssbiZ7uW3ayXn4EHn45COGRD2aSwCzgz0RG1Z2bTwv3200cMVcNA/yXC8v6RTURF9OwHI0cJg/C5xXPIVjpR3m4Ob/Mw0jwy6PifXEZzXrEnPN6HZ4W1H1MVotx2l4g7KeIbBiaQY5/iRxdD7gQ1hB4pRc7RM6oWuAL5eBM+4vYWr81sHSsbOi5tEfMhtHiuL/6zq75jC8dXHLFm/PpMRbV8clY4e6qQ++zMWe+tw5Np80S5XrF1oKZR70fDYOU7S0sIRKv6Jd+nPg7VifniSrCq/Ix5/RMX6vjvwi7KgV+DlskvGswF6UIu7Sld9IHQq+CNDWt5lst/4e8AwtOsz/1rbDB0vlrNoR1MlyrycekRlp+eL4VbYBJTDT7+K1L6lseQdL5BUj4SEF/UInwNx0+JPUNFa2AKP9GLloLZtQB2aytVW7Foo4AeiLXYtKjzWOpfeA12WXzhwZqOtl570pcL4OcrAIjqbNpyzuVAXUPDv3TXjAnjNxRZMFCTNn2huLPprT1GOKatWJX6ovEyPjmxVU8OjBlw6eW9b6rmF2dk/pQ8fXW+e9AeennJKpKSG2dZUBD2MzprESX2tkU80r27cl4RkQNDS4/rHTI1rgEbJjZnHDayrrO9G3s8F9xbpCF9OW0GxNhh3qSYHqC7HPpEG7rBEH9azjcb9DvWDAEsQrfTg5N2MtcEJbZek/ByOadS3qm3FHDI6fspEH5BFlNhxgPkOxXc/BvJmFp51r0GAq2gOprNqGwC/A2a3cN5S8uYAOXnmLlnaFIUmu2+/nvus7PkewNSWe6B2XvCsPCSJHxIPEOamHmTj2gSWT5uTM+PYVADXAa4moASLbW70oR+Uqd1VlP9KLSkjnY6jnZ7PKYNRCqRHn9ij/eq+cmcAoDuAskcUXI1Y42C79BoSYGcvlk8zTPGAWitB39KSCm83eFIpkPBOWYX91f0ejFuaMZMqvkoOdzffJRGrKDNGLL4f7YAguTB+VKkjt5fRG71XBP8BTkVN6FwuJfXuJ61S+L/xC+t68EiVZxTJb+Ii+Zio0OtvCVLDxoBmE+xeEDJ+Nmcu6XuYxnmOBPXK3zJQhMasWutTAVmv9jZrkfsStUdOmj1h3SqKjZSWjBIel9kp08nc6Z7DbaCdo5IG/+YlCFEaSHR/IAsiPbkbS6nqU5K98l7HOXd1zbv5UQ1BfigUteY+AN8ZNq+umjFk1PWtiif6kf0oO8h8FeYTB2pGKDEiFOfHBXg5BzEKJgijazf5yeXnrsp2juK+76vpJCSZ+5CRf7810xALz+0DtxJjLuHOLQzl8S2eipS8nkGI2uRk9nALObrpm8XOxhEHDZtn2rP27Z0eIxlP/2grtLVXWOgZGj7EMRfVlu4e+vTOb2e4JwiMEwobTS68/RodSxbplFLGRL09dbvYaAM+1LTeHqH2BfJ9w2sZMsRzQQbeTm1qUzSIrz9vuygJbnGa3HFpNAfKyLguozvxS8vtA432bwxwllFePpVCa6jQ5s7JZ2dKjwVmevHEQXzmVwOBExFm/JMLmnv33YJtB/eB0DQQ2AL1cRsYdsBVD8LWUOZj/aoJxSiD3WVzwgODAfHT9lBiabY4x+OdRwbBU+mSFv3cxhpPRqnsGzLlQ5iVBAdqo8xeynCYq5t9HCESYoj54eCBt9wuJstCvlR7kT/82+8b2Jq8fA0wDnbTrgeb423urzzeQ4TZOqSQSHIkX2y/qbnSWMJoPlepDPX+45AHntIkYW4ICgnen7bw2HNbou0aHIKSgeU7ycrjF3LW+mVCdCZcF00QNfYCDCi/L0dnn2kBiwTZlo0xLhZ5q2aWtb3G0gcebZsf6gSAkf4byaZ8c4z8sLT6AqAflTXC+jAtJ6xqFoBG6d1OfeZ8gF5XTVn3oXNXp1F73iIavKsWvi2nheugABAPlp4U/3fEO6gZglg/BB9OGWgHe1DBly2AFjXG+02EKfl7F2S7cFTj2XjwHAfXmU/8BFsdvFmHwdKmgRJjHpRaZln+XWrpLp+TjKY/JSv4hPqWu3cOGow0V68GCIzFPz3/hJzpYQfA/sk56xMEhZKK7tN8Bc0hISMo226rNjOuuYBg4KfrNeM4atm40+18ZLOYpH18an1uy2jiexJ/Uq1V3xM1PhJtzh2k2rI2WlHNFZjoT7PfFJgJCfWmsTWQBl0ExIc2/HBl3fIjtReUKDQ6dzPHAF29tKP4Zz0XjIiHWAZ6JI/kp9X4gUm1177R6jz3cOwIksIZe3M7UxXGt7bx1lI6abQ+Wa5vZvHsFCVEUIYJNQ4xhWGkJn/wjif2P50inxP5m3TEXfZR0R7ZhMvh3l3PHpV3rOhbXHN8WTQQETvRBZ9078YI2kLTuO19SzuXf0SLZ5zAyZmNEavC4gQgwachkCByXkxKK+Q4tGJae1CVMt7B81rLzsWCFcVOxfrH8Kqqi4Demtgp+/UCDLHxutRgvZ4XlW+oNt/F0rz3hRCEAVrpEi+q10W5ZRNE/pV2keo/I4dWRqcBvngnmlHdpKBPrfCDpbgcVuU05WXE2GSPqfeyNFzqZRCGwWQvpdbUr0Vpa3LrAyQhZbqCKbKcBZ8BToi2/qDvxvZW8Axp3B33oNi+yInzw/ULFFyBt/TVfZDaLD0Mn3UIJz55O9dxU9UiJkh4RclxobBCtWM3xJFwG4PXxB9rxiJpSO0h59QKsqrKrvFiZdWuOTzvmae+F+Es9mra3K0zJnoKTeq3KD7WH1Ak/LuUCTfnCdZ/Td7wEBh5J9OAYzAc6WPGEMG3a/bncLYcFEW47kN1Z8HiTYD+IZn8a9JA7k5dTYY/x/zRoDCBnC5RjvRU0Q0RMwaCqpzr3DxfrhNWRoE0pWP1Y53mrGRhX51NmfniIhiNmLudRvtFqcD7uSjmyCC50GIppSgaYr/HanSsAqLLRJFoiS1EdQC79hQvflJeFmiEP7CVBD6lNBUMrcQMNzElS88FyLr2aYbygIFdx4eQlXL9VNHMic4Ky+pwkL+uzvOT177XDJsrA/xwToyzfUM6bXPhz9Cx3i5Y7StvCWAv+cG1zIq7YE5K1erHJTSHWFbkumOJ65FdNN5hjAoiwK509NiOcaAluE/Uly6CjsAJ0fu4LVn2t/ym6K5PQIhXj7tBg9dDZ4BbWV2yAQgNKqQ8hi6/oHeMACFHThDejOVRp+FGGaQ9jFQwkBtSN/6qoNCLstFJ3GuhG+ksyRcAdCMygmtze5YkkxfRG7TbpHU3a8Sx17/bAAn6x5zXbKkN6b7YOrIZ03GjHnu/wJwxDw8kcLr0GnvclD4UN+5IfHEbC5Wu0WMdMJW/QzzZxMVlc3x/7sPoHnigNW2WahAOh31+Vytn3mu8f5wT+IYh/FR6LuKrWMwDIjfLR0Jvu9+kHaJj8pHsKttxRv1NR97rIV+X4C8Kj3sceZW1y+ijNFg356EYEUKf9zFf0J7cYcnyXleyL09RUfhUIvA+2bnHQOiNGk4hjW6rtN4htUV9DRnf2huV1pdSWmJXSsi7dn1XlOLBPgAziq7NjH7yoKW01JlfJDcZ07Pv8O3HjUvGCEPBYP0d9gKwK1JS5z0kF46qe8lr2Zq8IPw/5cjxy90jFzI8iU4PhZ5zpJyUxcon0JZf6jHi2GN2xjlsNv0ObozFTxd1Go/uZUFnlGdegoQM9wEsFdZGSm4QnPhlHixZiFM3DoSk/ULfYsYf08gNSM5bujycW5qsWFqG/SejXIBj5HVpJk8+yTuEkVa3cZNZCTXhrJAuoZw7QrbDtpbS07FrG4oEI/P87nGt431Tlbg/BO579v/y8Itigea157GD0G5CA6jVLRgHEuipGkxZpZfV9fMtyXrUJU6ENGQerrvp2ierrtYkit6M9t5PehLIV1lW0f4zU7+XS2ffdeICKGMem0dyGeiD8Nu2jblS99XzgJEf7mQMLbxJ/TvkEatbL9HBYgyZVjWlBbyrOlNRHmkLk/nNCEoCjmWCj+jkXfTpR9T0Qmc/1mj0E+JHyroKNUp95Leks6dP7z8gj2Mbuerrx27hl4aUwUB1BqNSX0OckWhIgHVXOlESMAqV02xdA1LbzXFltJf8r9cwmsKJMEHO+MmRGWEHLrKddkgras/haJ9V1xuUYW3wRuKnmRupx+0TZDzku7RvHJnLHKofTPPSITDKpP/G0bgOpPN4gFy1/te0SfkfIzM6HuoJs3L2nKD9rXb94HTNnBv1Mih7Gy4g41RGo0ISmqxppPB4I8LhkRjQHlv1Sb5Hmxu/RLFhIl0dejNSnZ3Inno4zigPImjUhTHjY9hJrQEY4BPFPblIQHdhSlE7LWcMqWp7jJdh+6ma+YlQpVjyj7jlGAcS7aAy8F8dxJ/eMC67CBNAU62fJWEwqvgJp/VjPAeNsaQj9CDR/q9A1ejT9sPkLhC920gCW0HlC8pvbmA6eehngv9+/7sMiVlhfG4vTzOnwLEaEK9M0IKQIPaZeh3fgYNBjMJZ0YKwlPfW6KpBUrCLtmVhaIbaq5OGvqAw5ggi0jYILia9qC08XvdYDoB/Lf9Cc6pzF1jfsYkjw77swkmiKiBnJEPadk6RXM3eZKJ/2ZSrWExamQ1X/ubaywkZxDiyyYEtBpL9xuSt7j9HHBd0yKYna6JpoS7lg/e9N6BEuMrVyFSDLhn8hlMM/0hrfRLo5eF3UC76nSCvQLH2C3h3FFER1ihsBE2l1rs3rtbPipBO6XVc+vIMyfmEx+yB4Kto3bSRneX3kMDcehTHscgcQ8By/6DMUtIiBYc0GLTHFYD5Eyapk35LBJFgUgQ4tVWCZqMvlydkC5e3pTsJRjUUNPYirvt9gcZz8aaFIhEtmlCXdzHHUwc5bizjnOHCbEgFEKh1VTmAZTeXlwLqYqeSwjNOHrQiRY//eU1zU7+RrER76pDwERDXS2X++oArB1fYujWfddVeYW3BIYaAgboaVsISom6EYgvCssO0KhhRcZHJpAtymJzGTamgnM2AIAbt1a/2CL/6ETGc4k19fT9JZxgU+p+ysrUCXotXpeHCKi1+ZMG0YPo+epIQsYUwnPRZ25NH5YpPZmi2Uo2jDE6RoUHiyxap1689xzCApeklPMxxSdVE+8aZmy+Dj5oMlfGRUH2/EWufECLVA6zm3O4Bplg8waWE8qhhjsKcG/NheI/6g0gpisjb5dqWKTwlK5Uaa1lCL2JIV12v3yDMc16podLlY795WnNUJNchHXDoBwh/nReIJero45ZQYfZi3teS/c77WlNS/MlIIP7G4Elv5aIOyFrI9FnXWDsfHMYHm4HDFzpccXvu65cKBimu8QfUqzfnrsldrHw8iLIjHuDi+JfN5h4H0evq5CMSltSqdfWxxPXCr8yN1GQVM6oLmgkkl5vl+jF8uZ9JkvmJEbDl6wYwbsDOFMIrUlI+9TZAIJVwlxxtJCt3prSHbdiufsdv3bArbz/1DOOAOIU+ZER0TNzMzMNZgEsAhU24UPIyu7xe0LAvjeRPNCpW71ZGeuz/T1VMnOYSFwyTP4RD1MlrY+QUK40w+YsaMfepgmbMVi6jJROwMLRk7l1d/LnbLzXzHGFLTiuH69QG79f8tCsAbbU2t3nqJhttpdKGIt6qLLNMbAiMI81wNyzHKCe4PgtVy/XT42WzqPcEmfQLE9mYHX7dfLbS+okiNL9tGGIKAIny5T3LmRAra76SZF26eQf+P1pe3VyLU05dcJlnZ2Za63fFPWGnCbPG1NBEirG5b0VGlT6QAL0PXdiUc3iox6KDF0ku86ZWUT6SugFDZSO0qM9yI6m/xjNETHT9kIvWli7hdP4bvU+bGcpC+1NwurJBGY+ewbkKMtHKK/VwpBjTlLLhNRA72kF2RUprvviwEDSlKeyM95FEV+A9wH3Z5ChKuxUkbX1bCMtvZWBrx1PvMvcYMXMcB/m1eMWiBawP+HNZjmsn81iRZqhsxe97U9yR7pjR4AtMmXYTPHx6B0q1YKi/y3QCn1nVIfBxyTcjFgO/FQMgu9beqGTLvusAJwENVWL5o85xz+c5uYZlygGz/aglz6egHjkeBu/xTiuJ51ucwd12gKLoMS+tbM69cXy1Y1wYiFzc3RwbBHY8rn0Rvf8Z40Wm6XEs4zo88V5VO5FCNiEZahMvFrK5wvJnHfCl/JMJreuiLOcHhd0Co2G2p7yDiJ3iZpjxEH59E8htkQUAsRv41aVK+EX9rJdP7M9DNxKXho/zdeSxMydXn4tjXRCNFAQQBkKvCkAHPCv4r3E5SAz2wQrHhzJFo4ZzmwbzZefDfjXwyV/0G8AguOEwQPR9vVWsnxBOaj2UIxY36tW6U0Y9CrDr8UGsBmlMaaxzZNw42Iz1IZPWLBeU9dk/SbslqVv+evxSCdeERShhPpdh31nwXhr6t6zqCFVZAwV+lLe9GmOUE/XVKgpAg6eepLHXrYcKx/Jp62sl7QcT5jI4YFBfnu7yHDpUL9hYHzJhHtYFyiZC/ETEKTb4eAWTrjShr82MPWDrjy/bRumhoNv+Mv0RuPvppwrJuIhSMusvxP8JRLDTtkSVhPZ70HwX6nj/YgBuZ0GhyblPCliqBXpV3+TLAvvomYh3MO4+T6ZONF6oZXHRlOPtQZkS9HpXjnRz/hNRN1GmfTqDWYHWrZQa6vMFPCxbEwWl6MaOilr+wz048hAUn5w+9J7IVYY7XTYDzyOZ5LK+I1J24SCCc7pOkeDqVSkRjH2HcFESHw+nO8r2Edmk5rI9sR126DG1DHs5GeAYGPLSGe6VqNDkwwm5Cfqq4lbd1kQO12T5G5X+2f6emI5l++aKAIsJSktakTg/iCbWGP6sUcHMMaywcHCHvKQoymDFFwO4qTJAQ6QCZ9wsYWvxGblOkd3IkNMhCqdNrSWDj0DKT3nwCQa0V6IPaIM7aHFNOBNuFRWf/rBvDT93FFMgd+umrZhFqyQ1dIVhYYQJGEiUP3x4epA4dpz7JYzTS67kGChXFteRpJwla/V9BUsYhx7ZFtmB+Tmk4hbxEC1t4p9oeYqvSqWJ9kkCUK94hxERDcXwd4hXMy+LHxpbxzC/ytvCZJNLbAcSvz0+wbPcxSunD9Oi1rT8ySvKRt99oRH3ooM3L/MMh4OzR4jQ5Je9yhAqj2k9T084xD9gjdKQCOnkA3NQ3CRZQCiS7TgsbuAAaJw0BKBw6FVk5H5Zfr+d7lHD6eDSev7+VovjqpuJ42BOx+qOEfa5sHVtshpG3SI0ydnseV1CVnROkux+k2cJOCb6xZOOt9QqecRAQhybyTr9uXi6PFLSD1EPvcFcw7QdRFftgo8YvpPU9VCVMXhOj+uJyUloowe3K6mcgaQOtKzGQ1vbkr8MprD/ILfIIo6XHCPbOsOvXbrO26r/DEVC+agv/1mZp2d4pwE2m1MLrioG1J+edeGSm3BN0Jjs2Q6IHgIu/U6jXz18D3rIxlB24eUQ1T0dfW35H1igqfqQ82//TDZr/R/vcNWoay8tMpfJpxckyfMOsD/c2Oo9KYiDQVCX3/n03YOw1+rU0dTHlQ/rWKUb56qb2xyJEpqyXxU8hf6pREbhBCcCf3xG48jswE7NURhsaWiNl+4eHNEWGT0yb2zBXTeu/jwgeodrE/MPcu+vPfC8jfUDAgOCYxqUAdk68dWflmQBbVX5+dTEzdS4N4EQuWZMkmHVmdAvr6ouG3LTlU9u0D7uACy0wCODVuve3q85Wede/Hq8ZHHUkGQ/C7qdU/XXFsQNxipqTn6+BlCriWvMohfffevfbZ+8A0E3NpojUQhfRErSoo+3SYymB5G6YxK71Vj0Pskr2Ks64v030dbUye9mM+8WSYFZkKJVTjqm3OHpG1iG0OEZlpXC4/pEaHxgp5QPEIj+oR1318oXEgpTqR2NS+ac3HIpdD0NwIh1E5VPZAah5XBJ2dRcVTrbVld5B0Q0PdzioJktX4o5PBVHTy1VTBGWYJP6DmmlwXUsDBjh29IGtcVDyVA6SCXAJeSl0u7HXcKDaJvt2sQPcfsMNtbQ2UeGH081hnB7tfZRZmLpoGrZ/t9nRizuHYlY1ZC2/h7B9lnOz9DxkyfcN7Lc0wai33//KJgbcZWrWREbAN66adH0EICRhDF6YSrlop09NfZd0LGsif1s15HOV4tzNKeAOrnw8ywJh1fEsUVyNK5wfnItu6SSkMweCe5YgcVEJqclBk5r6gHi6EFhVdD2+jd9P2K26F9U+5Uqs340cFkrHUVIadWrahXKS55AAL7R7rN6u9AoIzg/eHFzEH2mKAq9DdGSCdM5RTYnHLC7hO4pnaF+xVHnmkUTlxcBWkVKdYnY46S21vT3+3iRTk4u8ufS/ZkAuwUn6SXI+xep6bd4Mb1CQTqfsYZGfl6FZPPa1uCCOe+ataosyN6Q2T6+uyKbk6544uAFH/nioYrZezcbQzgRIz5jKMYDjFdTmiCHUXVirgOIn1zPnkUD8l2R5TPE0kax269J2j9G6hDwZRdPoYLS0hrNxipm2+fTHgI7WgQBmBZG9PRrZmpqHK8z+CbMGXh9T9U/VxIfDsNDhpAfCH8hpYneNjyGsYeTvK7CIJpDlPTTvNqUfZ115/gdraxIaMdVu6jQGvJaL0tYuFB4qsxslZHBBRk4607Sjx38ml6mRCnBOjJqsfoXppiT0/joDbQSaD3hYnQotioEBPLFRhqE6M59fzGb6OwM+x3AczI39Iy75WaRoe/O4INUo2PGGiBSqqL5tEuQebHIneVkCCi+WYwP40wfBFRkL8jE4vKLoEKEUuDiaDp5Ho1eZCK/FnCpFE6Jya0AiBr1P5MEJvrpb4/V2O89rSVclw8xb/TgDdtsqdIW7Nl6+48Z6QKotpMc5adSCGFZGhfbY5fcUoSvOykWUhzhK66cGPHpOolzjenECnBMWwJwSrG75HsUxpi198gL2ZB863tHMgr5mM/Bg8lgIyQ/2xyfFCJdJ6M/UnGZlhFUk1O8eUu50djF9sIC/i/U+vJsKynNAewJL61G/sealZhiXOhA3J5vWZKytcJoX/1FHGiPKHbWNjapMlccFBhnCdKYxWVVWIwiDIC14YywCwgx/bXJ2ZmDf+seoPSBsRmrDlkkhwE2c9iHIuNh3gV/p3ycGRRVfBORzCMN1qyt3MLvRvdHDd8PGPVJQKzmbDw2cTtzL5KCRAq+m7ensByzcPl97DkBFznbJiBJZ5jzAGRmqkjRVfzJcT/pRd0gf3jlY/5cXbpFzioB/fv8jXQSqXrvHyrR3HU+7TfzwJNBywCQ6AICTVtPsqWM9eZJDgJwsYCXjk9eKKgyUBxWxwrlb50YnuoeHx1cKE04Hh659LKBAEF1nQFwn0W8rJd95Vz7sT1U4jC+ABO0spW3LzMioin/h3VCNIiO60ezLn9FcqBwJ4qJ+xjZz+2gZpSUOO21Nfi0AcmdzrHCLmGwX/vkKFCryS0gNad2Vxp5tDS8yNaGpdSr6ksjCdSc6Q/LFlU/ZiNN0JkbE3IWFAmFkkeMf/DF7udkfJd7nEf6F0flvIQiPF+P7rhvhq4WyYG/ujBV59/iPmVzjsHJNJtdhf1CvgmRf1VpR8z/MjK/R25yIxJdmBtajFPFqlXOa7y3fyWovJuuRB3DOVlDkQPTF9TdnOS944WJrEp8M/OevSsQbNmw6gDvuBPNRhSwmaUtaesNz5i2KRSJsakcVEelNlTUnlnEEfXE1K4hMSIGjkHgeuSlmGFxd/vcx4EB7ypmVxAVrCLoJ6jYjTe2dxszeR7Ee339h6XchSBNlkNAzawPjmvG2Zyr+y60FjS8R4IWEaKlcrlEaTLmlj7p9WNM8wdcO3b2TF+n+N+j5l3aPLqppJEEJjS6jkqY5yUOThL+ikt1/pNfG7XKuXbbZRiYDgKXb79twh+Ybzyhk4bbezodOE7QRRWeZlOmfVddfmlAU/KHOawNf9R0SK7BBsbVPUvoP/2c6+ifyaioPDq7IGR8n2lX99W9WEzx+bB04YOc6Qzv6K4pty6R3c2WSshipY/G/Eu/ewmL5twp8vwM+nybqEMuR2ViNkE/muOoKAWbRXBkCvFVAkWWI1nEyLW7jaeMdycmx4vBmmKQ5cMo1AYqhiFKpZKGBpp4vdGIshKJQe5NweNDj2VFCKa1T6nN3ySjnPuh4L6py2+SyBUeOAfZBPHrqnhPmv8GLaIf0CybLOzFHsrA8Tt5uYqCTBTp9SWbUnoQWTGf8WUN1edPYQ6X57ChY/e1GrbHj5YZC1pulrACOdbZG2EPTGQDFPdiqOALyIJe+OjLCS+9AnLudbqkJcLv4roT2vQkiTsiLI8WqVs5RUqlaJ8GFhW6mCbGwilVM0i8vuFpQyn0z4o6jB35J0ID93LmhBDHnN+9MZ9q/pTotjn6YUKVqGNSbPGe5Zf9qh/G3zc8IksoWcoWzPJMCXHyGos3FA7Z/YH5GvfmXLjPId0H1dM66vBJxWdRkeFaYoeyZiqNgF5whAvJihHg6eeKE5LecS1lgH6xRIAbBvE24qQx+2EfwfjsGeMBM8R89XeanHUwjC2YAVSPjtTY6UmpHWvibregz+JSc/QsjFkuH/BTd+Yfhzo9fRdrPDNq2vXgO0MlDJQm0XSmTwsz7qwqULZUoggwUcMsCtGybp0NHQecc5rdsc35yYGpFPnwg11FLfQ+JzCnJFEHXUJXs5wQ4rMfJhRNwJo3EZJtVl1ZZPfeyd/HMlfJ4OMq7e7N3o3dQm+WMPgcEFwBnS6oVUA/5TEY7xhDEX7lweyOJmuvFEiDIJSOUDHGRbF+msjgrDLaj6Aj+jobYk4FyIyt+4MnZ6oZjUsS0LGb8dc1b9+ysOBq+jLD8Yowyx7NDhL/z1SASsKa0MdneXHntb8dDlleT37M+JrALUYyDqq7K5Y8BRL62u7GYtUv9OziztMKmUEaRCYjwyu95pMMK/4zNHDksF3Mn1nxiLq84zaqupq/7yoE4pO5T/GHbGSJcxZD7CeDdo1oBLhvzZ9h9FQqemxx5i8rqpJ9eVASaVsBy8ixgc2RQUhNSOJtKPTbZ9qI1rl4j58/5V10OyWCRq1DOUnfRLLGFtGjJhwY0mgeWaMvvht/PXZBSCbPQQ7St/C5V9GfOf0mfU2OTmsvTqwiWtaVIaziBgK9lTjhNYg4GvIYx7ctAvXrtf085qIQBB3GO+0k91PMX4o5jZAcF7Hj+B/eOnmIZHvfkkkHiTz087+zPwC35hzfglo0NUj5lh/Ow63tITvwQKS6SEtohIYyaKR80MFkkLNMoapi/5tN4SzImD72oiDsE+n0fvaP82GavHPHNkEJyRp4SYyZgkU26q9tM9jfrKuGZ44UYONOoLSkoD2v0n5VlV7nd3mlToDAEPZE5QcKoT9+e5q9kyRGq+F6KTSw0Afe9eDFCZxvFaHSzfh7rJ6YPDyVQX+OEOSN5KcnbA3NzHpy22afdW0+8cCvD27Vu58oUx7Fy4r9qYjgjFg2EG29W/WJA9TT7WwZxBKRbMCkM/N+IYlUiNhQKJFbRqSrpeno+TgCm+z/Q0kpiPheXTfsCygQi56EBXDiQUNZxB7ppn9/1nA1sm1J3l3Mc6gsPvB/yDhDrEt+iBdD7G/t9qg2Fc6tZFDG5wXwMISTUuM145ydDibTtwoj8WiwY5txCiH2GN4A0Gk0inxJ3YNR+cFaV9RexyV00AhGcBXnTVz4Cd4UjUklZgUtfj5MVStghQE056Ip1Biepshymy4aguL4VZ8Pa6GX2Mo1x32T6ChFDSW2RQavJ3XzKpuOtYulplxZ8uNWT6Dz7Orx9WKNCJB0JajzA6ZMQwFXa1Qjm6B4qGkdlQcosvDAKfrm5Dji5bLLVbjDxb9IfuzIkbs7F21m7yLursT7E7moKr5PES4hsHbVkRWVxYNrVDUhmlGamazb7KnhGGdD6jJvsVOt+SBuFuYHYp/H0wFX2JTYhlXCXlek0O1vjphDtvdSVpbo+eDe1kUlT7yWe3KHRhgreq5TfygTTbT2P9p8uG+ClIgyeY0Z0mDN44mkHuX4Zs4t7yzt99wceQ/C+n5m47jbm4Hmd2ih4RyYkDwrWwhp06wfWq4SX6cx3JB+lWT05QWobsG01EelZtuyz2ZT8890ZQYvMG77TkC6aiunjpn6caVEC+1sNN7zYXRSJJ2FP//6VCaitY4b6DBhOMRlsosK87HWm41WkwMsByasfP9re04TkTzeVo01fxwtv62UdiuTlWbaeW9ik5dpyMMaf+BE251OugtnSD5rP5LXTQoX7MZ0yTF8IQgVRB5K+TtT9AnDZOC7i4YvyPm1MwPtaPnFCj8lfgeOHmGNkL3M/IeOifpNwKxH5jaHytH6UIwbYX0TZ9Lb+wX7a/BBvIrF0CH/NIQX98ocDGx6P5CKaNs1xMgSuOlfCDbgjFYkTwXLGfCmg2MX5SdBi0m0RVlzPOHrAy3gbrEAf2Vv4QVOL+d2SLhUiuf84niJvtpzwZmm8z5OQeIcrH17QUW7Z6fjUe64RIl6PUmpoQlKk5wSDlFF9v0HN0YexXGlya0UwgzSHM0dHWtnHrte5tCWsf5ib9gUmqKiBMUzKsRHVgLgcpXw+mb6sLm5eujU4/MHdnUskwjCbhrnxLR0fJZRsjOqhfBttQTHISV8HxpjiW60v+57XcNNYY1tLOjZRJrwCyL3zLDcTdfQrgsz1bVqVwEwpAiKL9KXvsCeL5Ndcifhwtsnq3UbCmW5+DJykZOc09IClRnfP4a2HF537qHFPHvrWEcLQUyBvg5zpRRyg7jbsNfGXguBCAeFJSEQF9n+1/97CKdcBgUsnr76TfjA7AqHJi6BbvXACuZVo7e6KHew02Sf+sfPxBLNJyqN9RWLvIGqgXDc2LOUFb5bQzeTpa1BHwNSWQEWNHQV4KF7nyDxBLNI/XmMXsupFo1UlJOTV3DkjBV2Q9qggtYHcDaV/eMmOtAhBCdk1lUamtUHrYeMvGtQg1Oiq2fzwpgRdXr2BOFmtClKLTErd7Oj9bwKbkWRft3NNMLudhxMU7vQUPSyG7WvkkwZmjLf0C9M4befX3EnkB8FSF3KO1rhVDvSMsadXxBfAApybhWQJwf+Diik7tNFzu+BNFLJh9gpEaEgCJ02h+wgOKlRBtcIHxgSG1gGvwqrvYmkLubIIBPlhcm+iJgeV8JltBvi1TBu7Wjl8ZIFf78ssKuM0xuL2BOWUrNtnSLvfrWMZ+/qRWNT0E/L2Kd13vKmqWOEigUGwnsyP0HgkjE+TuvCCP9TJx2e65GUbEBIrt3nNqtCSoMduIRWonmHypSiSfmbHcOVKKKZx1O8x8PZBIFr6uCgQMsIBWLpmlU6hAAwUh3ToXbQ1sMYfidKwqlLKGUgXTzc0N4k5xSz6nda1Te8AzVVE/MzibCxHp9GIHy5Leh7SIb5sGM5l4AG2pxeW9zXsnYGzxPaeEGwOGbn1ljTZ2Uk8QwQHQqqAPbYKYesDVYDBmaMeVvVr4y4E9btfEN4KKXhWx6JGP09JEy0jI5/34ACqjMgTdd/MkYLS2h7lD6BeD86rbfKhqrvJ1b+34SpSB7NE3IW8wNbTOaCBrCrH4k6IOtlrS8p/ONsQ9hJBep5w1wBXi/fNIM69oPmnwtI4yN8KMLnSjBndgkvQbDey84hkM8ijmCJnI87OMj2jAr5FH93pu1IO3H2TIzRpmK28ED2IqtViHlwuW2uetkisRJt7s2myJD1FFBumCjJnLpFwv0LgGvtJDK1QuhbcppWRFZ5FTld65yhhyzpzDeYW65B/kPjVF0VUf/XrwvrliyoRWSJyzQPYXQkBU/ogG9Kkn+aVFHt4a+EdQJF3MiQ+/9I/15Dg5hWnrVIYDtTZFwViI10++3zWGX0o5PEs3I1RweEQ7TeiA5ddpXJoVcVPOVBG75eiyuk9L/rPRiGbqtF1w4oxN+nxWAFpXYRIyBhv0+ozOSaXEOpJ5NgCBSEtcGcMO7mNgbZwYbGnhxYaWYmiIzrCGaSF0lOtRYAa6mUAUfB26p+zwK9NsurKGi+So7EjnLI0TbgfsWMuN2LVrhKMjl2TysyrS7k2AfTRQTQKqX9OtCquV/Oo9USmZ5GzAk8LZxZce5mpoMMxXC3sl1p2VmWAmRCzL9gRj04qkA2MoIZkxx2mvdbkd4jISvqHAG+0nJOz4G1uwRihFjI0DIl1mczV8VJYwZ2KsqbJJt9zCG8V2oOpUIYkj7NgHrBf36F3ZDBvR8gRZdIXwcDJrE1VmtjCf1qSrypbQQoxekHHtYecZsqJ/skFtrbEJsOZXTKdWenVVTJs48E3Ox8MdWcdP+5uQaV+a3Ko5m/PIVC13mc1POk90o1zp2n50O3nmT8Z03OUrUwKCzbJGMZ5aFtGVEG8A8DL7XL2EXYeDNMk2mGjk74Ehj2Blx4SIu7SX7FCG1vSyhLR5PEajAqucWgWaTg39fHfKQk1NWtA+wEjV4VYJDiJJKM+eUci+2l9ymKWNfeUWSZulcCinSBMmUUjwWXskVvG58FbzAMZ6wuPAvaeE7Pz77XNDXUg1YlXCkVYNnn8oOJW1im/4kbXQ+WJVlRSU/oyiBBXs9TmVScD5OS6iNnTlxn3qhrSUd11toous9oj4Yvne4wLodz6zTzEST2RwhUU7PJ6bf33tpLpDl9ScOSQHq7g6tYA6mTSfRclt+h6ycnQ8L2cT+JNVMml6bQGjtV37IrEzO5mH4THn4oBRqfN00hVNyyFTA+Pa8aj/Tyqwfj/qQSJhkt6pAeof759NOOonjLngpxVf+N+eJxncqb0OqfyuMuCYnrFzWJ0Upg4cAqT/QthEqNa1HgmtN3+pk4sgjhIbl2yM8XmGerIYTbpybczfZR+U20btnJhqc6vNu8tGIzB7iP3qPTTZ0z/EzpYa9+fZp4Fxxc+Ver21f+DAg4j0EyoqJAqPvCfBOmNnAvQbS28PAONfzeVBb7rOG35wghie2V1Kdg1N9YGwdKzdaURg702GoGkFRMrJrd+Illt6xAMjiuPKw7hlNdkrWrglvR8PWSme2KSprGiN1dwpUnDXXwahBPS7j0SOS2H4bfzqEylnx8iO/MoX/GK1uOJChGxJmQYp2Q+WEe5JhCMB1SnnwH5AYmA31j+6zZULmQwRn5J815VMFBTyCqp5GIJ+C4/9qWGO/bLmD7fObJhsI8GIsOyPP7Hi63V1+RXFHwnx13Ei4QcRxsjfmqiYBoutJCag0AdxCvIew40vPCQnSPddULwdt4QeX3+lYV1QzV4FwmR3KWogvTJhWIecS8rCWH/wEprQZIl6eSb+l//Mt6tEdjSNxEqMVFncWYZ1hR8SlkM8Z1t15alkkLRQE064Od8fd2HCs/LkTk2wdaBAUCr6AA+P6wU3GXiIhjvA7JUdwvdwPl7GhAcblkl0uUP1p1w1BAj+BP0Ae9dcBSKFI8gVFOZ5Uqzqaxf71hIC/Tm3SCBQSEE5j74Rvm17X1No+3oR51v0VdRTdKy2EDGgQ/O0tzSWTbEgAMYwDVm4/L2oka/MV+LyOZ1tz73DosUUYvIfbotn3OIZ9GTEWz5TpBjG0kZiY3ZlQbx3BtSwAPkKmHTO8qUU2uB979ISSR9+zbpdhF/D997S2TiT62IujoVPvjs1j5fuuxYDaeE+zWZx8eRQis4vm+JEOJ/p6jDdbNYONoAlBYiUbvsl7ir5uE94O9jq3KKDD+/RwUJyrimo6L+Pk6BDLrwrAny5ZPLUBYuJhP5xHLOp6EnpBrf3WfGqlza+NMO1/Vi2FPH4yCPnD8+wVEGgfMaEPk7JNjZoOUYDGuvzZ/ePoydz3G90ITz8MvRhdV1B6mdGEHHBWou4QVpG+c4eHQZOU0vwFiAn7/87e1NCAsNz72j5qfq9OjCXIDhq5i1gG/PiWq9CLTUn89ipoX4BRbBobY7RmhWpJC4TN0kpNJ7tY/aEy7Rv1lO1INaaKkl9k7+QzJ8yKWIMpkd2XNhCPyp/YnEYdo4HfG1nUgnuK6lcP+9L7Vn8TGKq2aI1Qnn0Wf41QxHKq7WW4EiM9vl+kMN7KD4W/Db5yjhgdfXHLtFBdymdU/tCnItOy7TvtNDQdAXUx3X0yrrpCjRL/FoCtCMpiL/UN5sBXv7QujTH43ChdamqbQlJXD++D5xKgYmg/HgiItc4LxkPQa75g6GvhUKk61q9iKnxv9pPZyTBIG6IgokQNy9hd0CL8cgiwyQz++2MMLS2vKkTQvqtX32pxY7Chr1Vi5X8b00TZv/PuI5e3lfcrhVWiIgNMvkeUp4TOEWQ3OYM13q5O4Kshmdsx9Md/go5E9CtbJ5bG3XLGzEgrrZbpg6B8c6jjMykHDHK8zFKvnJ7+GY6cPy4bXkjNAZjWX123KopvLYNu/IgaGF0drvxTi2iEfTbDDiNsxqtuSA4QK44+IPDtwLyIUWWTKW+VptwWUHkC9UApeTJKn1zlrksjrVGV0opptNOEl7xC2qG/ARsbmtDtqQgOnKBmX4f0HLel/b3buyR6a0odIKJbvYVpvpzsco/gFZcs5V6I2DjbAmdxqPfiGzwQOChJE0AmIF03wNfi4szsJ92NEFTlNEgNJAjiR2Ii+Lu1H7jjxI06JqVI3FlUfdcudfjQ9aAz3PRPkpourxFvq7ILMBnfRQJb+QyN9lUEEcvops6xIFkh9h/j0SPChqD1+OpI8nm+HVCm75ltRx3qvf1wr4YUupe1nr8THuHK1e8sdj9xEHys2ivUy+2bNOnEREzkzY/3+X2GDBD4O91g0fJT+49VjWE649bTx9/RzHguwhoO7xY7SKfwg5qH6WwizAps8+ibvZ8G81s4vFQr24JOydG9DF/vyJ2Pwk7HHxqJ/KOzlfGtBJa2EdpeAUQ8hD/9awNMtJG4yFxC8VpXWgP/EDXeaohihuz8PaQ0sakT4FTiMMx6TtyBLN1AUys1OOxEDVS2gH0eiX++ClsqHr/kBJuMTDPqIXxTRBoSuU9QULgdzE2VeRg83SNL2Jg0DQ+MiO7U0g8GOniTS9ygDrZ2v6RReigCdTKChSujp85f4Dza3WwmShiBQBXsYSfktQqxd2XPYApH1m+lUl2PGa0wdim1Rks9FrcARPQiqxxxUdGpGZS0muWzH5KfwusynM+0hyOap3Cl9mzq81QlI4koA8Kf9cfkitrawYyG7vrlrtyMlCjJvWieBQHc25BtaivCsbI/49xZac8VS+0agRm+6fzLFlwmqwi4fURkPtHJmfLdx910wiCMZCek6SaQVYychPNiHt46vouLpxD6UAD0eHH3/Aa1qZ5O2fiVjgRX9RgE8/ExafmhGO/rDElUzBXpa9EhFKG0KU/Xp9nKpg1CQz1RL9JGOZWwHoL3W45oV5JJE6RJDOJEMvbZjPP9ofQLVgtgjrMBTYCCE3O/9oEqwErQWbR5TFvuBASEkLWFEwXJ4223AxUsWiQk5Ogr9Cskdwnawqecjvil2ID+URApQF0/ucj0OmmZMgmm5VF8XcA+WPiE6VsERbC4Qys1cubkEPs+WCuY0H41lVOUrG2iLrdMj9aAFlx4w2FnPbSNexkRNgwGjjLdXVG8+dYtBJcdjd+oOnyFpCZ85f6MRHyTYXMW1o/3LOL+dOMAFf2zc0oGOmwGb5DeXAxD5iPmZ2Hb9KIqvDsRBDeHxFb+Ki7O4Tzh3PWaMe7pl/f+fEVZKiHX5qyAfale4AxE7rq/cpJrTPTkIuq1tmLwWAqUrPHNTfO0Pv+y5/hLEV9DX2UIgJcBMo0azHVfuJ45CD6KQSOHwUptudBzlkRD2BlrZW6B8nzk9d32mTRD/log4tTvEG5u56/WPmr93UAN78w6uYvfXj6ruqmHFDEhVXv7L3TCHrOUM5WPoiNnoMQlL7S3jybHMCdGFnOyS5t6+KxWxyUoBcplcfJPGQVnnj190EXFMzxEb2V4HdSx0ZjKwXg1gSyN+1v6au1iW59NLfutjrKqSd1ckANfd06Xl38nXcVkHBgEo0GlAmdME+e+R5vZjyNXVY8yibQsjOvQSkM9LdnIkx78tSP4kQt8QZs8xx8wMp+E8mb3XWlbyVWhIG5X61IVHc75YoPmYTjec8kL5cmYl1Omg8p3uKRTtx6T3GY8ZTiKzu/fd2b/KJMntzDKdqyIMoMdMur8b4NSphZ+F4/1iQ5S/GBu5oQQa5yC1+6h/eguxGcP7SSpxQyKSMx5ODYko9pGqPsIBPzJDiNJBHr8cfZ0LfH4Qs/ScIzeCNQ5LHeK38YNBVmri2Tlz/kZPmZHhHQlrLwJGrpXkwtJzRRW/pAu1DxaqMYh5YSUswZtWFty0IE/S69Wx6MI9r34/NRO/QjnsYLliBYMeu0qocphMmfVglwgqbvyIsDqZVn+RmSBypWs9QqnHooefUZRQPDPz+qqaKyRFdeEV70+zk3oXWThhkDeHImLMkHHnsSj6eoMcXPAqdOWmmDeHwRAPNda/Bh9cShZsyRynZNfjcnPaes7hVHby2pzJsqu8HGimz8pcNazQZEn1i6714qAXLDRUk4a3qkaHc6KmoCiNkg72jLKvUvBLtue0vPh/txDbax2Zl84zX/DthP5brXnxtEmFsLYdfEYYrE1j+jAJNDc7z3Zh+CdLS/LcMp+8SvnUrh9BDYespEn0OcHI2SlKEZ7iZez8vDoTpxVAqB6eW+2uHyWggy7fiID1Xc32Xft8R5NZJYKY622VABxhNIxOpx+8xfwcGVQwcOsUZaPMTozA+Eloi/3NROYzdpJT6JeYLP8FUUOs7xI6jzxZPWyYHiWmssfJm3GFfYzw8xzulr9qM5haz+yG4FF9uTZjKU5DlEoogMUgzbxVbDzWtPdGH2mGRaDCRmaj7jzM1Fmnp0W3bsnHH9Whzb3qY8nErIgDnCC9VWVYJYMtEqbCyEuDrHlBiIOSAGvX6mRztMZ552jJP36U/RPD4bOeEC/ILGqOlit3irprZI9jzYjXTra9uB7dZ32vqnmwy52m1gMIUE3Hvh+vT1icde19zjrP6FC8F0IjUOPlJ+Rfr+FjzIGrinqA7AfDceRqZoI1jR8PAtxcd9YYPFjBWaGaXnMYH0iBafON+SxDSSt78pI9L661Br1IgDa5CJpVZRKTZLFpbP5apakO7wYUWTjZeFP55lXoVZQejQDQdyL4NGWbcF+WBZ14FzxN97Q5vepxlAfaXfEOMtsmzHdN3UbylgjWyIJGuYXBywSj6AHMIb56K+1+szlyAOWYJNb0QCm03a94FZ7diG256FSw/JI/4HrsuDClIJrH2mL886hOcqtXcA5i2sAxOQaqq4zpMr8Mn6LZ5IIthHf5ItapfzrFNlM64bz4BFrWmOIajlIknFJ5wQv5E3xobnXQzMDzZc8nc2detXpAq0bfxFbqoXVA8TCVJKX+6lHnUheLHZmSi22WtzdCHqfQg1l1Eye1x5uc0K4eieB+FhS7YwbJYLxBPV33KiglrPIbnI+w088k0S1vy8vNM0U4VBrld3jwdJ7jz0yjf0W2GicbyIjglw12qb0RiQ/ECieJpjTOthw9Lj/C35Uu5GCpR7sDGHXuoX6cjubJDzVX25Ue2Qe20MCPZv/bb7FMkVZp3gj+Q/riMgM44EtoeyidqWmp4QNo1U/lNqY/FDBpJn35RG14FNyeVh1MPay+7yarnx3qWQcuHfXnUk/lBZ+O4HiI4YEDlOyqJDxB7/NPbHVo9OXn2JX+dUb3jskta+r3F+KHMy8eFsoOQPKoZVV5gs260BqiPMtjQUe2He45dDi/icu9tFV9IOBNuDXGY/vfBUI/9Sr64f1MJRy77fOnbq0B6vsLAiRLowfl8IXGe2Fdfn6s8I9mU6sJqNWqDKUjHFsrELM+ax23pmRLxgBSZTYeb3N8ghNzt3NvR9UV0VzPGfKxp5BQwpoWX9MM4H9h7aRAmsPANjqn8piUqyN8k6shzK6AXXU8PgeGuYntQlP6nf5iAKYh2dVzCxiu09yKJjtxdkFOPy9qk0kMyZKmmZkmdWszNw1ceppssZVqw79I9qfS8FIGZbCKEtIUiKJpPVbisnF1iiHWm+H3bOTHgHQiLb/Jp9WzVL+jcHXfNjulJz+iTttEuloIOHk/eeF9D67zt77hMk78QcPoMuXCvHYSsMB81loH+YCR8Y30v+JaraS0PPqw+hXo6VojpwoTAiiAGuafVevkx82oXjxSqGu9N37QNFUB/ur9MYPIbT/KJHCVSTNX58gf32JglI9iasi/3ceV8Lz3blEgx1+TpNnuuTwJf+nhhzWsE653ivI67s/D1T+cP1aTKjKEmflvdxWF3kPvDxetbMMOqeyTzDvd/mI3bdCQKnADX/0PcOmrdR8j+7AcEsyJqgjzYL9/qU6Wee+I9vrHRu9py6w1pZRL2j9g/V4KC5L0N1sJGSOW1PDq3ndkA+leqXCbdVdr8G7vG+bUazUEGIAQmC0QxximrMq0uQK6UV9M6Myhb0Q3zXMo/4MMxis53aWzOoCm0xUNUc62MuzOcBGtHrLjGMPCwNfmuDGOPDBlw0zijZtvWIOExQ9W79N6GYWTY9wnlT5UpoO1G2UocskvpQFRIKzkcoYoJ/LC0TMomW+KCo21XL39zz52wlZi5Ask1kU60usMh28w8AzXRxFKMZcWXRy1eHux+EnsojvapmgB9NnYosYtZywwOAQl757DVmLwTHNOAvyFfPRyJo/pKg8reDeXF4SDdaKlmUk59Aux0tW57LXchte7V6U9Sep1R9qUpbBKcpE4QySCCJeI/1WNhcydHqZk0te46ilriNNavm0mKpe2uRNcTK55Z7DbvplV/gjhug9qUuL0tD5F+Vzt9ZlDWOUBEE9BFlgV5wjPjb3k6oWGhc8EtS2IyedSa+faPNBDkuWKOgQCQ4pxmgK7PtDYljxNhY1F+IZDZHUd2fttChoP5MzxCH8rPnQJtvwYSN4hv/URXThZhCYm5cOYWuWC9Tb9ZMKOO//7WyoOAhSNrVWtglcX8otnBdltIsvFY9MSfJR3ltei0lYMNVeCJ78HM3HKt0YSE4ifPBuj+OuZgPfO3ZSSg5pCucsRRYlaAFLxyaLvjiPk+/7y3nm66jhtwj32YgMgoYWbf81x4CXU3Ah3PdLADm95N5LF5MNCRnPZcUE4XJPADL9JtPb8GRp//tfNm/2OKr3mZ0+Qmy2JGtjtBkERAIPnMCsg6TbGItKzvBK+RogoLjvtZlQ+QpZr+GvXQqIbq1V2cKklbbWopuUfRr3M1zLpzn4+b7F0vtMLAyu9dpAceG7Q9OKZ9Fis0YR6XWX6OyfGxAOMLGkqqJ4GuU4//Yb6q4YR+szuKO8SoL4M/q8yTQY4rc72K7oXrw2ykA7YnjUQbs4PIri3Cd2t/JMJuNQfH3FPnbRa09sqmAB2ddANeazzg1Yts5/VVlL3JNiXd5y70oT+CU7HRwhgS6gtNjz/CivvlIADofMygntHzn6s6mCJaUM+xGFi13kW+PeeKfX0qQALWFvmGpqSahe5Ksz/niRHpW6MaAuQ+7bh4ozwxYL7czGL6H4I1GKGQRYNg7OMG+kAPUspPaBHeSYrKDtdt/IrD9r7evajA1dwv1S6wQbnOWcb52m5inRgcpccF3uqcr2d7Giio3Lm0hHh+1Go2OLC2US29f7GnzsLgzhlXNnawQAcOoz7bf+Zcy/RyScRrlNmdsqfz6MxYqdxSbQR6PavFmC/36rbshAPWcseXrJadsgzIqAZovBnQkKFOByN0wAQREOWKN4KIPee2XNoDN97Q4Xf5KFKTZbSuVyn03/Znnm33kp9MD1g84ERdeJXaeMlfXdLA5CgBNlKWF+WQ5pCgCiyWOALfOflUT8dCAknEGq+Fy+Biy+geiNjEiz6SMtWGryY/vAjg7v1JyC9lc5gjU4FerrVFEmepU4RlE9vSCQF32/Wc2MS9IyDgRz0mzFpP/EhU0kXS8OQxtFNCRV+6bXNhwSRstkWfWZupCn7euM7DdAN0zU22ZFXXliP4KQE+O8EEUuPTIksCENPd7FHb7tYyXkfasIPJFGnTTm+oJDBwlTORFtCDzDT7NUUqJm4N4uu7niUm/jkOVuCkvAvB731pUH6e9z0AeV4DmgZax2KVjBqqRIckoobsCDOnkiu587Kn4+wtYCiZUa0mc81XEgTK5XJpuWkzFtx4rj2gvzOqWwMEHoFrxCqISMINMLKgPGxkyLTWfZ5yDvK9+GrjJgV3OgesFkMoC+Bi82X+pWmAfPvSebJ1wRBG/eonTIUvrU+CgZhY7Gr9VgFFdRLgLLC3jjFaKCSojwt34YydDwzrvou8z4vUKQA4NXAWQHwicZw+5glik1m+7jMz1UWVuA3J7B255QtxA7MVIrmAEGdJgAXP8NSf08a1ibj0TvDepKMuzjhg3ZnPqJtAAfoiZUXU9xhSWFBi79XluuGF7ujjOVtT5bq8JFtUxS0KxQSuTBYU/pVmquaj9Z3zVVzZn/EiHyb/vX+hteYwW2s7POIZzq2ZNqRmvOmvHc17v3l45VLcLKvHqeAuvQIUerB7r1YryuHnDD3uxFrGqM10Dk1cwnqsyGnuvioE5ow0LoV3pfqhpPUL4p1Ge8EMmtJLa8D+bVsZpgSXho0oOKo/fw0aby4GpUmDutFkNdRRKxjk8o1+yB0NtNWt2MZnFggmll/ACX285m7Uv8e+24mAvlz1LPRpFkeTIK5DXZaaawS7DtjbcLu9YdqYNEQQ2xrDmnG8fmh7l1KTExhtEvwFhKy/iMMSgmteagnNOBoXiDRG7z0wY8Ge7r+mW5bn7LccyEodnFfK3MDVLWnXKHVBx7F59PoA8oLAcDa/k3bY9euYwT6BIpkYnobT9uWI+/T4YVBQrfNT5cMwl6Dc8qlVgEnN4r0lKy26/ZixOA/Lw6+jsx338A6wxWHsYzQNzeErYOiU8Kyz3JiV2NUkaF/6Ew19bqjQXapnoLYnkerKE4OIbSKZ3npsLq7+GZl4pDjLe/lXfE404+UfbQPf6TXjLu2vGhJNsU8sUm3GYu4VADleDzOji91iWe9A4DEnEJIr3Hprrc+fY0DHf5OADGebx2WU435TLHa6MHRFU2zwB27hWSYBDQfGc8BU9B7p+kOdOd4fmyBA9NBceWZn0tP1WxixAqVCQac8AWm4gbkcG9qk2hwV+b8dI5BemnrOxU+0qcvMR+/UUSbzCPfNbUDfNwWww53wt1puHUCRYAqWLddo9Bz6cZXZXUJMsN/HnvfE9iFTzdcnh2YYuK2P4ZicpaF4nZYUIOpNXze4bKMF26vMzyNkyyT/g5EccJiVrtSD5XQtHzTTdslG4CqNgthtiHl4vC2yJpab0AEY51YECyb79+CiuXOED8exp1i06bXDdZNv813Su5mWlJ9WZAYzPQGHiU40BlQB8a8SbX3ce/6Mud4opV/nFSGN7U0M4H9qHov2r3wPJmRRipP7ZfH0TBiJxIr5PhxeYOmMDHwrr1lL67r0rN+D37OFrUErjypBz6wGa5Rqvtrg56rBChx+CbgmuybSKz1jCg1+5jH1/G2nj5fsC26WDCy+2x86VcdYh2EqSZ7QP6nTZ3WuyD5/GozVA5LLvLqEbYLepK40qa8tpPjCfpAJo76X4rGdvimGzyd9Y4DZkQmDeo+EEyF1Tn7DFBK4a8EVnjsSrUpfRoeez6tc8ozWh4sojlX6EpuFGcwrb6l7vkH05nT5jV8gw1tWiYFkwbXpgmqw+l28xbkdT0E/MR31SNwVSMXdYwlMWr2+aSixSXCR51wU2sD1ZuTIhsPSRDAQsbkbK1j94VoUjxxk5tdOkzMQxRvlEV4KD2BLgH9Z4Qzwi1IDsaJ5PjDR+dHC/WlJSLR0pkjX6wIMXZT7gHtiZVFGzayqvfX4nG28aT2LBLD28YdXpc4DibrayHBIHPbh20d2sL5/VlmsB9Oymq6uMRxAOTgSgzjdaxerI4gjTy7kBpq6coPIQNjQTdDRiIB3HmxOl0T+aYFx4b9cQqhB5vjRrfbC3pGW4f7zutFqhVeEVNl9rfcaMm/x/TYuKJNiwR0lYiQCJSAstqYaBUNfXVJHI74aMEIU9UvJdizLRCcEKxQQp7QMnuVjQ/Acvva574QYiUJAAP+jDfRGOxstZOwR/9gDwThQldY0fSna0xEtXgSlxB84M7cv2iDR1s7m+nZ+temFJrlPtLVywN041mVKTSvunmuUbOZexsnNuxLxI4Z6DoJaHRAwyABCDGWmCEIrK9PcaYOHROnp6CYaF5Tk+V8Cp3uJEAdvwL2t6cjK3lRSJ4w4sUH9YwNpE/KmB6yj1om7rMQQZdON3Dix7KLMElyh7TgJZTtWXbXUHeg4T81uP0dzNXcj0ZHjazseJmbxmNoUQw8CjCnOI7w7nHS82mxlCxgXeU2t1Dy7c0NVtHPjh+WtQu5N0d0akSK19nIm4au0qxMWI8NNxiJCvNKQIRl6V8WzJ/VO5fhcn85xHDTs4P6v5qrxcp3FxQGVjyAt7SkXL8Hc4Rt6h23uBfMg+etXwRWErQhJe//2JA6QH7FkndReIjwKH/9ObTifOdvby+PeXPnS+KIU7Sfy54CqwNYBLbTSiUd7cWnoAKuWpbr/PM+u86MRY3LEuNr9U2eJiyC9Lhuz+vvLXvfNDFQUX+kFwGh8Rpykk3THQ4krO7xrDiVGV2etAALH5L1NxavjOyUX84BC8dQ89qMMpx8vHSVr8ex1jaCZVPFiYm0OnEMGCpPNqxrHE3bjD6Fg8rofa4qmDHzLnstOKgqjcg9LgmzL3jsmGuVDeadWo4uQjKMQjPm3G+WoWbeI/V/heAqBjDcOrpsZIMXlwIkR6iKJfhOpiKsGXV5zRxjaCZKPUmpw6t0nX4klVULi135rtuQaR37p2BsAt9XT5RCe3mFyO+PC9Ey7H6n4J7pXxRwR9FoUD4XLCmfX30Q3oiq9L03k1+LOpkoGMHFWLowbywPvmZN3GcC1ntXvig6mc0cbtGus6LNiSJWvarLiZES4rzJuFeUHwww9RGQpFrpSNVDY+fjW0nRls57Fr2jZnLwvKchXm4Z5GswS22tJ5FtdGrBVFWVOzXf1Qeg8UM2TSN5qgSE4kg8XrLrZXGji1M7qo/u+LOVbzRr/owk9bDfyCBaClDJdTZ2YozjiHbtEhmy3k2V7qVNShTqLpHqynhaxI0SJSLfFCoeW4tqvABsYi688qZgrG81CebB7QXkEoewtFYj3NP9SEzlB/DbJbTohuF65P0xgWCimrfMlMjXszPoDSqsf5i0ghtru5bST5HN1qP1PoVugnreGVbObY3b1ZjnOA0FGOIu9juOx9vjV9WWIHi0yFvENTXTsg0pyWu5+CAaayjYduPYJktSYaqSyZgDxAgBb2/LJfm8pnWRUbBvC0Il6mxNOyIEd7BA0EgSFkBXUgamqwcIAWLABPS8XqWUMYj0ghwu5j1f4Hjhe39lx81/hSwcGcgYZmQZs9i58l4iVHtqhMJXc7XqkPM/yCz+GfLFyIQg+70EmI78OX7VX01xaeD3T5bdM8PsaVXr9tpAfHT/iJZxVzADpWre/HBlUvnZz7WyDM0hUyBB2ybSX8csLXFGHdryrvLTAvMY0s3S+Nym61u1uRu7WmhxDBaLNNzXS5Ba9vR0EECcmmMEaZZcHZjs3RBNDv6o7Gqf3HeOXB6ZYAab8d1Uf+VbVFrx9C/7f/3qCt9XSpG/6G3c8CcuCTiH9Rm1/t5Ej0xojIKse53dYBs25/NoZbtpPxC6HBP5g5hnBLtg962A7K8Blt7dncPYF/beDzPU5H34BPJ5ZyxA47Rd714FRuNUFvXclq/7WJ/s40Qhgue39JjbC+q1DD/zK52kIFwTv5X1P62GykAN9SC+N1DDrryROT9UExzd+m34H0iQ8x1d/QenMNaquvFdxJQzSSLlsyYfGaW5zMGV9kE0QcPid7yJ6xe2v1gWSBvRfqi65bztxMMCkVS+gzsn42lb28DqujBdPxxqgGmzL2Q1vye/yfQlOyt0y5BVu++1tOJkUXdNKo3mD5/zlev4tseKkxwgX6u1mmAYwD3tiFxANrVDf3fu0Kbj2naVhK2l13cUeepfkikfnNUepwZqSPcoujPqzoCjjPDG4lEHjkpH6EQmbh1lqJGDAOPpJXKpicwWohnHgNg0bSm4Sp2KZS0Tm5E5xPfwocznyJUMNdWUyGvcw+lHVbqsItXpQoqsh8TT4zr2hKnR7vlmlq8i3TI85aORcNzO7tqcudL1pCyi7A/ypkk75HFBP7OYIikxQeBZHjGMQEuxTMh4cwPA4Debz7ui3t5D08viEopMuaRiR1NNispKtiJNH2RVDxXQGRgAs9DbVin6NDZmPioZuVzuQNNbLttac1nCajOmd+hJrjjzLxc9fLwjfIX0Qrz//uJ9//TNJ+dVCD5tC0zLn8+hq5DS4m961BZzaTEiLpn6aGxbjGno6f271vrxCZa4fRUlI025hhu7pAaIOEPGQ8UVYH1fNT2ntMWH/qmgfzahu7yB6IDLsZnYPPS0WcrwF7T+nndMZlI3ZdJEYK15/XAHMGk7i5tT2KaeylL5d35KSK3HB1QOR6efeJuQgP9oCDOLT1dy8VXsFyuvbFk5mJ5tHpoc+lhpff3v55C6OCFoU7eMfHG/IXGQsyebjFZWqospoZUeWdVAjJVaZfKDrM2bjq/IFsBR3EYJkusYpiz7SAZVtQkgVcGL7Y9zdIyE1GDzTrafjDM755IPVSrxQTTBJeJazYCGJyOIPEJLE22EDG07+397l2yYIY0Do+56LePVJnHdgeVK9hjD4G1k/kpDlduiwbpdnpxbA9CXJxqy1QvzXbVF4uyVEAwW/07F3EzYsk9maB/odht6XGOnvGP/XsBGp6j8DVj6DUsQVSA639enAsAybo7xXmUijAcmdPMi2JK4e6mf3ueLj0o4m55jsCx3TAdOBUzUzXq0YgKOC8b2XaLLKhhwXeuOWydnfg+aCuXOqSUFBIlBWV8GB95k1zuz0D4L/WCa2QiTLFv0GIPRbn8w5mbu21ltxNfUiaOOFN7xRMbizxnG/AbfsFNLbQt000SOzHQvjDywLHq4iuE0JLeQVYRR/iurxbdek4R38OyYL8RiPzZmCykGt5gUY0SEUi532RIZZxXhClWSkYovnkcXuqj7DZS/uGRcWT93ozR6WyeJd2imwW04GPJGUNE36XTowCtoXflJzRpaWIWr6Mr4cvoQaTkAh6vu+2rRLq0J1+GKYBkqsxOFXqIRFD6Id2mbiEgaFOECe+m+1QBmBBZkwnZ1hG2itE5d1mYE1BGpubVTeJSkh9RnKMVxtACLryv3OMi2m5AJiwpKuaNGZHMpX6AqpY1SETKdWm74teT98EO5G47DXLxMOTeIXvGkXVSqNOPQOiJ/7g+VMizAY0GBDGpm4ph4h96/Ne4kgGK4cnhVIbdYuXwJ/7Q61l3Yq0yLKWB1TXOQcWXjXBeEddIrh4jUXxKyXdvj7Ta5ngMPNAvkvfXLbl8W5m4Ca6Zdq0CFzOhai9C4aH5C1BgIVE+SLZ0Cc4N3ExR5Yb0iSMMD4VSPCnG0dfJGm/pdkGEJuryV+9wrX2AvMmticbXXjlcDLKCkNcJOP0IA6UFD/BkrCUA8vNxBmx1gaQCaSHQwXrbdCJN19ftvHwglaxwsqhlMwWxBvBTuR6XvRyQKtjH3qFvkPeB53ps20Eea5ssu/RLf1TMgWxJMG5vqpX4kmOAen09Yh5SR3y7EmA3ar3iTWxezzlev3v+8IPk9ggYfBTk5OMIr8s6g6kDYrQhNpd/7ms9k5MzkW3o4KaZ3ZFIHuyefy8c9z7USdwS4lhKwHIM9JMDc2gPMoENkNrVvofvTEIoR22A27z2MRqTnhq7PZt87/WW34DsBjFWkMdE0iWPssW9LKfqjBAwM3f1IaUY1dZBtETvxP3wLFadTiXPzqJ+BaDJSydpVmGVwmVqCjuN4vdfpdBwXUpfFHVHQeYONuEcClA6KLY64mIKUm7LkzT6wMd0Y9bkOEy1fFAyVKA1p82XleUT/ARt9i75qjCLUXoQNn4cp2uABVnzUMqAqmEb418VNLjBvp9EIKTm0Zikk6Wv0secZcgbu5hlS1obaW5f/mBnnYCF0utLIFE0SNt1UzoyQhYyfacMK18rDunMWauI9tqTVQdf7YPKpqlD9ulL+34WEm3ehwpxY7UCcrC2jUFzsyRY8ebgjKUCyubNQsZiE/jhjhugoYCXcLB/cEyvmJkBRk7K3GP3rxLls8WgtokIx01CJ9Wm/Ww1LnNp1b4PQNOmMD2/nj/yt66XU0lpNf7QBLfYWBSUgG46cF7ipfF2hXYI2u5wZolJVCdSTenBmtMTZGicTMxgwCAbCsMS0WSfVF1hnZ+Ab2uG+b9aeYiqUwBqckpgJpBo66XRM2Y9RywlWAQJweb8XzqFsit20tAx25YbLOFUYhLhyRwg8arED0HB3rBeo87a9re2ux/svaN4jnqfUAlQks9nnxMr+gTmVr4bG16RmrSTlLTx98Sz89GZZaHKvMlmDfwNDPDNyS8DYFe9Cp90jcX6c9Nb2gjtGFc2ZNpT8qIfQ3aoClDGuOyC8FJjKfNwyNoiHGf4lrFFGs2y608rha2cNx5+9SpOLW7XjMjCd+fgHUBBzANHDVrjxg7qgqF/zSvVn3cbVnWjkvc273Wb83K3ElbOvKFeEw3+/0W4fpSSlrijFi/4j95y98VgDQH6k1F59aawAXDLByJ0jzVldC3SdRsUy6K1nkro8AzBOv5tYaFhA0OWTPeP9nyDgsaCJ7z06ClFLO1OlrkwBRvV5pVupmxq7bYmUkJpIdPVtf55e4JRsWuXGyx5uRzIZT26kMDdfHcLUYesaV4Yba2MQA3EGZy9Bp/kvTW5XQ/cUEFqWEx78Lbs5Ax0FGjs1KRS/BsmLAnX38riA1GVtdFtug=="/>
  <p:tag name="MEKKOXMLTAG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lIBcj1AhOaglsfnW7bJVNy+Enu6UK0QItpF7Lu9UORcZ4SlpnUax+QPfM/lwFPHVSHxaXXiOwGJHivZNfu3EK3IuS2PnGFcrQto7aCqTO1ypfEMgTPUReVS9BsV25ikWqDqRKg+mV6HwgncixvDD8HTtGZHyEpTAPCLjjcvOgb5daQA/swa0yE+MUHferIGtuiHQHAfYrrPp5qXxQU5FNFII4RaFTwKiHE0Qq2+zWUCGFSRUkUROJiKWgayH0tLInZs2WILj/jfWKtYP80+9zfILe9ZLdE/Els+OtpYw5v3EHHLij876a8SuPR54fJgovnh5a07b2dZrJkafwOGdlG8ZiwOpcpdIQS6rMx5+LsPa4/duh/9edl+Z/7xGAhYa9JAXEc0YD9fl/Zt6k57XbAz8XeBshy6YUJyuS+Z+1Zb5p08v3mUNsOmy/DPuciVN8tet7pwBPe3B6weENq+d93paZrV1u1jZMyeZR1SSGfFqAVMYQ0kIVSWF2hBLd7A7Wqlunqp1zRrCThyDmouKLlCoRK17uIjwbPXBWRSA1m6nOGsAZ+mZOryB+7gSoJsB1Q9l0vf0WeQrAEoOcjf/D5hWae3oaeHTS1oru4vjUdwAGxSFjkJFSLgTIQ7dDxFlDl//NGG5P+o7QhTWjnEcvZGpFF/On4bujQmU49KOZh5tXOYWUFltXO9RgMZGXmhzsWnW6E8au0MuTCrlvShTfzofWJSQhjrMoZlRbmPQBYwspNjoBEEPCvX7dAyHgPD4Xrlvax426UbChSNyxFB8ncJKS4fxDuIQuQcIJVAOEkRE/Ae7DxGTZr0BQ30/m6HtLRRrA5BtxdiWktcIUAzDGMYxLRcUeTQB2VAliOyvM0fdyBWoLs24UEUDCHYl/7NHuirpYAsjSXRBwqJ4RpQEZfeZ4wnfXGYYFTjoWR1ZquZ26yD1VpPchWx2gxizqwAaj3wwZyRjCoP6rGEYpc2KP40RzKmvVIKX07WSs51U1JuNuvgZH4mKnVCoE8B8oK8l8v84tJXoDKtU4NrvsmE25yGTGMWzUK52AhXTHxHNEM86DNgBga6NC39VOJVdczm7ikvVanbsVfDZOqy/Sc0a6zlRx5Px9KyMpNAWU9Hhki7EBGK22/eFxAf+GQtusWrZyOSUkwpqnt75yMaWDl+UilTmtYxF8UXDLEqKK9eTUY6B/Oz7C2xvU0tB+sscRSb7YmmbaqJSQDtPpqt3wYkRAAAlxlxQ+/LWBzWdsel+yY45d7LaN1g22chAqYowQeNlDGKaEGqwxd3T+otULGvtQ2V29p5X7K3DqP0B6LRaBRF+4r7HMz1CjJj3U2ZZxBiQyEvStl4Khr+hqJdn9temZ36FhJW1ffpovg5UwNwCnTEWrQFBFf6t32FyZYiFbMc3A+FRhu1Dm3TJsBmnI8sT4sbEpQGSl9DtdYrSYumZYUXy/vL1XIvIWbbbqNtu9/MvES2I1Xbx6Zb5451s0DbW8IK3d9KrJGQystR8Bn4yNQ4cGAtOA8VMmErFjw3Dfz6ko1vobYBITCvLkmpFjKhfy78zvBkcaqJJexZ0i3Em5qcK6CjKVHMrtmhqTh0NW9TyvaPiA4NADmZNteA20GGVmhdEpkOfA5hNQNFwccAn2Jbvj0BI90z6zdmt2wguX+1Px0+u26Dd6a65K8wjuCmv0AJwsq49Db+P0sRev3CoATER3IENMUxcYZbdgYUENVU9SatkNDXQ2/hx8GUxBAPT5F+rZP+OzcqoveVIX9hNV5GDR4OWKFtXJn1Y2I4COlLob9DBZa9DGIzZ/U946C/XUedZTFC6EA5CXVIM9A9UnMs/MLavDQnJevYdWZPUyfoJCfoe8O7nSsScCMtmp8pw0LX9cQ3VTXFNSnPK6Ubq/GtxPwLBc+u/J9Z9znWEAxtZwPXdFrzVZCVMI4LPJbXBvV10deTXpSLf/TJav0wVCqWhidr8iJpCZ5WknA0ymb745NYnqIkp1P5kFnYsPXPfruk68Qn4q0sJ6NN6fncaOss48XqslBQFVwfk0DcEZMlu1vt2E6rJGtRXzZoZ/I14lN8FhSV15Bfv8roS+1pYDnMBKmHb8F0tFboLgCfbKHQFNPObcZ2eS8zDQvSfd3aI52Zhoq10NJylSExpB+MUOgjpZO/z0Fv0e8zp86AfWgtGK+2Gtxo4QWGja2qIQEdm+IrJCpRdcEXqaAMu4o4yv9ZiEHK+aSz9m4WCMmZKgLow5U19Nd+1s0VEcJV5JuMdksX/f23f9uV1xsOW+doF6lvizwx0tpNT0qb87nkH4XxBj6bLjGUDaoK3RAYOAdQ3hn39901KnbmXfHTkdliz+oa6elQ7srPkVUW0TrqaG1LeDgtXpmGl9sVspDlPSki7IKDIL4mtucbl4gacyaOE30j4TtZCEXu4rox4XXy1GHvTrI+xFFjhpREfueYb4KG4Q/1SsNoO4R17wkwTp7cVSJQDB5AI43wYCX8jI87RgdOu8/VYbq4yWZ1L5lYSoQmKbxw9g3FB3EBSbil/Zur8rRthSDG5q+i8u45UtbiUjT3J7AY4TZUU9CZceCHu8N3MaRBQg4y9iMAicNH/NO3P5QMNZ9mKvA/9DX9W64ajOBhOrPJLqdlOFhXncQ5ex9bS1HS6+muhbrLb+Y3R6UplkurllFbjnygUCaFIRxl0BEpGXdZeLrFByMgJm56hGKtA21BCvTz+4Sg/rtuo8gLBp6vpounML3pJpIsOT9Yo8rG8TmuJ41GzkUTiSXwopoPUraYDeoBevSTXCxEZuDP+4o2+5PDvckqMYLJSE6xOWhA944IZFLfO1vnn4GgD4Y/2Rsvye+MGoOTxmIjYsdAX3lMMWqqSpwmnLFBcKAaAx6+JOdmQjV8NpsEqALvXHldZjAdnycKO/R6klOyCKV0LGzx2qZDlx38Uf66b3K6MZ4++kJMdaUMcDLiDvNUAiDSCl+FD3sekOQTZvqXFFXIqJzeieqI2ZFqjFaXeSV3LQzuAtMdZuLuWC6aVgVUKiD7XKupojqoc8vBBtNSXL08X7jKbvswfH/M8zVbD9l6jMPE3l9+vH/E/rgKprEr7ea/DBSROsfcEz1wQfbgQ898qkLe75e7bl7lH0nGeSt1k6Uw+r7JFQMa0YiLM/HzKDgFri+Fh7XA4gGkPAGZ2tVUdNbh8UW+S+qBka749sPKY01QLI4+7ODV8Swj4UpkNGi9KrG/oCFaaKgpGkNyJLOngSROFNnTKBFkNu830aQO4n5KYe5GUYr2Bg+1jBaBApb4iHfjD6zBfbw3jWyYUUaBkvCrP7ZX3TuONsgXAFTsqOROMOf6lnImcGQPHLdMBHbVxmtDuntgFmqmCkV40wRV30GNBkGepH8WuwkEH9Y99tf38TEXgJXQ/5U0oNcf65LVi8hC4fZ1xUdyYFCvWw9D6FqonHqUu3TFXGhijzaT+hYwRSGwk56NI3huLOHNG3pTqsmW59HmGtjCp72sgKnE6BOH4Qae/iaxIpvtTom4smqW3cwM17/sdPcm2o32I2oybk9Ev3DxJ0dKhcUcD4HToeHS1sTUWS8XsmHmd8uixNfwYrmZQU6dg/VtU09Ihw/5hsu8Zs2GHxKGf9Jx4uEXU+3+fOhWYegYYvQ+E5uRsTmMGBMxV2gETIx1I1ik/QEBk6xJzh0Zu1vRU+mtBXmIi6gEPYSiyOlFOYE4az0X9/8nvCJYOPB+ifbQaziCxHnWbvSUUDHfCvJj0vMvSwEOLjf0zhJCEVCVJriiR+qYSuaSaPA6lBI+68VOsQgDzVDQMI54sp5gVV7I/WBKICWlUbORPtqMdzLzBO3klDPuYkQgnUBumW2oUfqVXel5yOtVRmuv9JMSitCa1PphjkuvuuI1L/FCPCdRooueFgcs4+uqQKzFO9y2gy0HTx8kcYrfg/+Y4NniYdns9l8Zyg+RGor4UcStYUPMPZ2yYcVogR6f0l7J5DT2S8HKEd68fBwEld5OFGnis+VzS+Rcl7c7P1D5UUnIe7RO9yerjj5nKFAnvoLgH++Pkig9f+F17a6ekMz0luYACGWxGi2/QndpgyYDnpWqGRkyK+m01WCfppdu4W002jvtjEZhIsMss8KTvS33mem9qCPxQdz5WNTdZ+VJJ/SZFTa5mYKijVzhzhKqFeHfXeefm/PZRoJLb9yQP/18XVAMGahv3YwIaRFnPiIQ0Yx+QSJc9SNBMBiz8bcdqdY+AKcxziESnBRVHv+FzQQSjr6BgTjjEL44jVr5ujMxRPPcBjgXszR3xy+xK1ULmO0FGmjflnnddCyg8Y4+9v09d81BAPntbveRdOwks694O5XpulIeUd6oaS6m2jja8npOe/hFfYgbAAuE5AbSDm6njUbhf60HSMM7v8U3Fq1t4hz6EbYI5of/NgS8vsD22OiTwMk3K+1U1QyO/QfHD5qTM5SjBzrJpWAUzq26n5yEuMWW0AIkyJiWBy/5CrHwFhf+RF1EtBi86UP/XdalHNBzHz1VdPUVKnoYdHMtIxL9Ctn0I/bflUzr6TiC/yVgCIgc83MN0PcZ3VXKTIzfgQrbvlXYI0vGAPNAF0+QJVz/j/7X71zem5QqpxRfU6jlBSDOywUY85CajRo3QsUXzuOFPgM73T9IRZZGPUUsDs0/dPwXXa/QcweEDBDR6KO5D2qxfajsHFOyS72xBKjh+TLzdOcMLfs2ABtCOT/DV2lCqyPeREVR5rx4sCiOtfrVWRZl1tgjEPJocdCX11wCW4luR2q+aaEvFTqiuaNRJ1XDpFnR2NI7dDVxfjPCjLoRQVgi36vqNJNqMZcdCCbIBg38eDgo9cglldKXIfNHM9Itl/bFx3/OLq8GrMzi6mR/iJHao/+LmkYjuTMVWe6jcH7DwOaxJ+aOnrMgd4sDauMo5j8fxZt/NBP6LFhFwBIJe+E7xhh1rEYn06U3rYdrq0XCUWDFT6HP9V27E/33S0AcwTevphig+k2DT80sR+aSqlyuUZi7yJjJIHM/Y3J/+jBvkiwkyn+bPNKakB/sbSxsWmM0rloSNKL237mgxL/GpkllIoGlRIplgXYEiBDsqovUrC+p6AJpin6NpaYbi1dNOTuPc99JIcbgbzQCwLyiNgtxe7EdZj8yk2Jz4ju5f4TySsv3HdyZ9WK5l+JKk3Ha7v3FHgM+ES3ZKny+QLSoVQElG4zxWEAlU6r8etKg5s0gMGxMWDmUvOrFx2E+rJ2CU+SQuCnrBSKrnj0QKFRYe8aLKTTH/zrbXjJL0nQFntgEb4u7Hqv4fhAu/v3VnBJtnXP6FuxN35HWzaNDbOgm4Rxt27w8yJuwN/yNwbr6enOb77JbudY1Cg5TPFt6OXzMsc4o1pyfy2vc+2+0xrAA7rXIralfuBO6HkEA7DnfWuBQA8mzd7Mw3oNmsaL1LwhmCEqVufvSc/3nqWYHUClyXXsugHIof9BTmV9yVG2NUGDAQhw916KFPscni7PeAeKGsvkKYgD6pf1S9dzkLpy0I9MC6cy+ISvHNb0aGC3QJcD0LJPt7ye2Rd5v2HkPzlXrfz1ICxrSvoCRntwcZIwWn+HTXCnQT9mItyau7CCMwPm9YXQuX7oT2gNMEnYJp/TAT1KeMGJCho68Mg/pJkvx4PYbIZZfRRz8rfI67nBUhPgnnwUzeHnyA7VXTLvRIk3040lfXseEq9PAJetbIXn4L21WjUrykOXjeBRMhak+UmFc9bZzKWN4Nw7ks9mSRtbUV0CrVSHRhvwvmdOwFyOm0XYdo5cEd4NMDH3tX2LOz3kD1ayARvW21ulHvbiHa+kkxxY++fl1rBmN4esGILtMesgjSfnxyZ2Qe1WfijdKGFnjCteQrgkvl8+3vDcnLP8q5wikbZJdIweLirfr9EizwTjjDSm+0QhSI0geZpp4Hg+o0c3Exn5LREOyrp8IM6BH6n2e6/nziJ9L8AkQjlotcWAQbqALZQQOa/vcnmTMIuSJHkLqg/9qtn5kZAHrbSXhqTh4QN/Det1cxEOZoynP80+zyGJkgO0hAfzemIa9yiIanRT5cqgMLcMXDb/u3IspO5jJ/0QsUZ1PRuX0qw50wI/gnJX4f/mmQzAaaRWiRWZo1rUwmzBX+GPMbCArKzURtiXUV7cFr7w4UTxNUDGM5mRyIQf9hA3c5dgphc8wmrEAJ261P8rWk3E+p7xy5E7N6V7eBSA/vpVJtCyJ9qIvcjReahkvwBwlVD0qD13HSwBqVeRjGKQPSWzxFahORHyBxyfJa1A+nfwt8nYmes0VPOqyl/J/ZMggk0HiyI96g+s7QVe8X4AsZQZXjarXvaEmN9Reisbk+qbbq1p6vOOUivGsLiigXH+uBhJQZGO9utF4XaqopyBIKMT7oEQ46t77rP/DBvpgMODpjsGj6dgflLbEl8xSiA6SxGoRfs9y+C/UdyHWGrWwhckfYdTSSiDSadgGqCVK7nIJI8GWjrOiRcNv0pmCirLhrSB7dfejWZXlBeLdPB8tKmuEuyMGSyISRClyojOsMEYeUfv48ap8guOrwsWOm1OpvMfItmfuYCQViwi249PR6vZMNu4uXiV4BUXD+91NdwBH/IJqJ7cl5mDiagpog1tCw1eaXFCKy6ui+ThZiMl2btJwZNIYPrfb++nfhqzRppQ6+qHYbRU9XzsQvN399vHP67sMCIChrGehrIGrS4YFZQuL6dOjaR+xPEd+BLYH5kwPxFGhFcs+ru8udtTUxW6BP6aepedNfyzZqcr+MepZ/3uQ8AN13zm5jsotyNiOqhrgp+yYtXIxTrw0s52QG01r5As44mXrmR4TOr6F6f6XEzJGYGc/T0xmIt5bGNDT45kNvw7oHAvfBv7TPWmuUiPckU97DyhKCdWSuBVQpu+gRJ7JErOpEJ8tFyATKl9MXrqq6hC37WoYGZB7EUsZkb/SSQAWXQ4uRFkeyrkQ+GTOzsno+2wk2gXmtzzNKeOxyp5ZadF33dt5N4ga3Cr1paY94GohmjkblOR7pRPLjcLrkyk5qlGdtvpq2+9W6syTxZ/4O5fMzy58e3kStryFMxZeUFGuihGV2ruJKs0n9JSUdeHDry0H/wyACRwJBTJJFLoEpU2pN5wbF9My6P7aIZdDSgAkGo4nNaxASk3OmMKUSbl0nnVuWzTFiYzYYAYePMeSbyd04inyZzD7KL2oKhGauHNmHKBcTbd1/hySjuAxgDPnVrCuFiJNPqsde8crrbLXlLkWWDU7wWbKRsUQVIZWOEmrShm42nZZWHLm1Bh2c4vCUQuLac3vkcGuAkuidE3xMrEGpiIOUF8dS5FV1E3ioszSqqr0x6Vy7FH2lLTEOnKIYK/On7zFKNibmx3yUXv96edy+eUz3LXBoL8MyF4VnajscQg6+5tBTFXRYd6V+GMABgPervCI6JtFzQ4eDR78Y9wcAfXz23JDtoX3Mq3+0DSLoj+7UmcElVPxNajs4BeDTVZk1Xt1ZcDE/vrwYFZi/VMKp0Wk028is85qiAQvxrNndTiy9/CVbguzNd6XN10D5dTgzgOVyDCskjwXY3JoK9wmHBr66x20IehQTYXa/RihueFj6CbS1HJwq0yTpDvHSHt+u89RdpLLubEN5xgWtXWEIIsJOQ9auE5sFyBvmAOa/7VIbwdb2CQjFRNYsUekym4NZ6N6Zw5qHWO9mtq3t++4LDxgDZITuQq354PKWCnUljCTr2Zpd00ADU/HVbnqfRPhVyFAFDSu8mDsehJIIX49ScGrGfkOTod5mwgFVXPW2w0t5viIIqSze1uTcOdU67hEqevPlsqs9spBNjcekTM0LjJojpyJu+4SoUkvDOYPYiSdHC5513qe5mI2MJTNssbImiBZc3bIlviXJlY93YbjIiPKxUhVLbiQH575WfZB/oMd12USGBROvqWprh2lr7WMvY26OpSXQREDuS4ha+UiNHFx4kHQvWHtnA7WKdy/qLuT71rm9lnf8RB5lyL45Uq/kUg0+qQ3ABPW6vx/IHW0Uk5ksDSCMP1nzUBTQoXeG5LY2Oy5rtfB/h+n0A8LOHD36zzHZX/IFQhJ6dH3XTN0PY+YZaeKR8+I/eHfTj5dPdwUYZxR8171K888ArEErBKV5z3L2zx/g2gmZlEG4NXRte64y6MS4pS8kfzUhLdmVeqySm1ZVk/2/2HwcRjx7AIk4r1LJx3z7t98FocAAkM7VhDujw5ngOghd41EiWTUCf7EmvLemWxavPhun48XfTKeDkvHArkkrKD2nssZp31FwxN0Hy2Ht2HPhQSzVX+dCjGLzoHR+38A26HdspLlEdqWRcvLixli0atKS/RxLZIrT8C8E4eaXDgzFP4TJsqO9FEJ7VCiHRSsgtD512A60wxgqjcfXzIM71pKe8peVlu/e23uuYziw7TkPzKgbr9SCloBbs6i5YJaDdkP8bozL35zF62gY/WaeIGXWhZ9QkiPsy4Aci7qBAkLWr4SjsbPWeWnjRZDpMn5AYIwX5HnaBgaVJRTu6w7P9VGgaxusIf7VK/KhwggfBXG52E+9Q0ti253Jx15uweXufsBx9exGKvSuiXj0wBQeUg+bktBQxwQkF4Frbj3W4TtA0P7Cl7S/tBhbSzLb6sIHLlFJJtPlsYYuj+huVI64JU5hm8XvxYEfkup8LIFxTd5L9Iz1nYhHJPEWprwDOaF1IOknCe/O6TpDnYBuZGNbwEthmp4wb5O7kPCR8y6QhMmqlX2Gjmfm+N5T/2ii/TvNoGbJ6icVXydnezted20ugU9geGB300RVNDKwOmvAU9EBSiALn/77Nx6TcV1FdMSyC4qpOMbORZjnjHR7vcvY/UR41a4fk635T9i5d1fXEQhawaR/ZHlFLDpsPD+udFEZdGCrVYE/KPrv1TCFRLRG4jqdpgoK6IPYvpzWzn76JO+kpR/n1SUwUr3ColNj2IKWF6NKYB95ivrz8Ag1k7vZeIgdTxy1cy3zGSRDYlSHcfPteSBMQYLqvgrY4ZD84GN0lZ4gsQgRWVvxZNHoRFhQ8IgR6w3qSZwD0MT567558N6hFwcyW498zw2AvwOpgjhRIoy9TgXvuPoNP5xbma8RDrg0m5Ib/GqWIK8d7EUXktbnWsdMHLOVQpCrBIOQJqs4a9ooyGdWqgvcK0zeloLgn++LFvy4112WsKywxzXoQw0x7bgQtdP73Gz4Z+QVzKXtzMSp2JJekfbwg+5SIf+uWtB+myGIV7ZlC0nBs24JzYia3nJMF+I6jFd4yjaUl+qi4UaXJTSCwuXNQ9kfd17LuSTFzbmBYFZ8spva0beZ8mvUhBQzP3R6aFHT2I/Cb7DD6k7wMKz67ngMGUAfd04cMPP6DnBlf0sfbmP6stAq3UiCDnhiK2Qcr0oGDfxkPLctaz/ZWSqjDIMWB3yTjIQtGVoZ7CllGgMrdKLe8vYLdjGUdb2jnycwohdfPyxwdc8CUsqEsW8/YJK85D5dcQYYkH48llP5AfLUsXT4GKAv3rdp80TnMUHxW10OXtUOAQ76SzLfd93MAnTXBaSCZRgmRfDp4CqwMTW/HtvSGMh7FHw1nirIu9pjSA3QyYGQ16REkiDOX23YGVi2iP16qIuCtRfj5BwGcnSfUcbOUEbTFcsuAg4Tr1irHLI6x/a/NRAJCVC+Xm1YnRaq2uI8M3AS+nvabhx/1LAHimav7UCTaAtJFGXSSgfps0svly1UM4RchKieK16fDroO6Z48ZV99DZsFVLsLC1ee0NCs65EAtOVEjSts8/xrBD6LytWRKLrIDbfjkjDX1dWABFed7ax6HKzxUsPNT0BWrXtLk/0Gj4JmySc79ll5s6pcMLL6Mz4A17MUHeJfZS8CRQQ4hJRVXfrtEBphnxxPk/c+w6Ikgf1X0B1d5N17BhZzjP4zCZOpjOYmdyXvomfmoyegCphTz3Nig2kBWXy81BQLLC47G4w89fMfQRps8Ou+1RCyomqt+Rd0C1FUpFsR2bVuWf0LG0IzejfiJFOgxXG+56BcJmVJ9Q99XWdpCWTzs4uvkbFYwluKiX/zeTKYfPiOnrkoax3ylyPYRqa+Z8CvEmRvDbVv0AaSuVXUIAWR8Od4O/7AWuwP4YTLMaa9pkY4/FCWbQVeqw/HzigKHUOw2SwBnr56Ev9YhaVZiujtpeSBK1UZo3igp0jZmAJrJqviUTquoKp1HjlYc893RpQ98+bqKKcxFYkNyfDTTGuAKFqIDeX+qrRFuBY0xocPBctDZjcn6FWM8yPwE8a52TIjd9W8Hbh+liHHF7ZwsjUkaIj0mmY68NPA9c69C3SI1RsIbt/Y5xhCrcp46PAX13T6DkMVTdUYOKjgcxOQSmnvIoC15j5OknlI40IaRLMiKBlYOiGuEuON52crWjtkh+UWTWxF95SGtGbSHubc+7T25EZCwzitYKUb3fEVq5YuRqdbtakKjHrCi+0HU1JTuqGlOJv3oaUexennRV4M9wjlQyS/89vxOfefqoTApZUSo5GFZM3VkSQGmzQg1xZSs7x1HQZE/pSLu12+f5IPW2Iv/+CfDd9ECoP3EL2TbKiFC8hKG08a9NC19LYVUTbNPZhc0z2Ki6L5u2Esiv6KUrZP/YtVkjKVfOU+LgPsvdRkhXbXCivnPpdOJTJso4bzaJoX/3MB+moOW+3Sc8e+E6bKmRZ1B861fFRZUAcpaO0szT3reo1ac/AupQCFNf0QzU0fSUqxoI9cCyDXXhD7D7pIgPpY1APa15Z0xB+HIQv529SD1cRx4RqR972012UkL0LhE4jDITfpeqHo+i1ZyxMXr3LYywsNtiTeBHoomaR/0lAB8i2viGrYJ2FmFbvysu/CLOsz1UwkbGQ99EDGPNoImsep9vsMhc5+H8RqIrG2jnHdphQtqvlek1UKY0IeGvGoTJMnrvL3I0wg1GcwZk+OlevTuB5qWyvxXwLvMaI/sxOCm/v7qeOhtw4G3vQj6sRvPFMc7hkcjhDVZQzwQ6P0jp21gQ1+ZrROcFImtM2vdkCz5X8NVMCFb1sLsTnt7KSiHjXBbtCHD56OdX76qs8FGtwixv03uZ5uqnNKh7GqVMVdRZaBYYTBIByMxRxasptYPTLjb8dRyWVY5WJQ5PPffhDscQDZ7F5TNk/GKNW1UU8NO2f58nCeqf4niv01ybiHVgB7890FJSab2f/8S88NDWLuV2e3oOM+/gRUvySk/ik43va9n89JChlzrT6g5Pr9XXfIPB9pJs+iWzq/Z5ypW6PLodxrQL0Wc32+rWPJpuNnSH5HHJAZ7J1bx/pz6MVMYs1joZ+2xJ9bhEgXukZ3YXEXnU7LOpVZv63qH7m+8N6MIYdkdeQVYFhG1Cq+ZaPnZfhbhNwYLZwPe92lpAq5cNayZmQoHnWzO3+kX0GoDo7gFvS3mL2/Uc9lhzakHlPLf/jG2yPDqlu0u9rhPUE+4M+s5wPQ8vsSr3I6TWDczu5q66wwHjpdz1uxqixGAWMiygdDSlCTTknspiSvawtnHgxU+fhagHRNVEr4k077rQHjy5vLRPOgCMjfFeHonroF9zixMW/v9kDZVN//kuC9aA//po3Vk8j5GKwFA/Kj750E2Zdgt8HCPIewTT25IkGnpKfTljWvbqIlKIwzJ4EB678PXf9RaPTs3LFwRCrE8PbZAkAX7yIqZHXYb7MmJQWkYPiIhadvXIX2A+HSuBPDN8PT+8mdgc0SOVKq1OKMOn9/RF7SKRMCWvMRB+B0gF5d1cvszo5YA48t7n/pmDMU/6gfz3j7wj8gWiiLnYWIySh9KNw7+N3CdlbXSUpLr7tJcSEhP1Wz2mUfoUXtbwL1B8IoXxuvgLyDx3xB59TYXzbCtrk8ReghI25OPYYPFk7F+LTujGfhBMXO3sEttoLXuzvTui5F7mJLp00/bmXkNUSru9BxavBnEwSz91jamG7xZLIqMfXFnatUw5Ih1HmeSgxYCAtbgffVkJClqW6lR92g+6iJVyXBV9FGWSlgQgShuGefsUWGC10FfYRtV8q9R8k7TJ1WSeFrDTpC5eY3j0oOGWX9LX8RpIALSRxoIotwcsLb04pqudS1umX01lQ5t7CpAQjxZ0oSFliMJnBGRoOF+CR1zPvug8Nnl5Pp0pZJa4Upk/S58QBDuJM2SmNYY3nakyDah7q2e8WNAcqvpitOQfUQMtTXWg3oOPmPVrGM7XiNlrN4GG+No+I9LulCmnmwtPo2LxNQswFkllNQYVlISYiW1NvLxFIfSwQpulXaCdRLmj58Rw8abSApQqOq9AS20xp6hu7PyLyG7ETwJewimLh+kUMIH8K+fzAyOxkPnIH9zwrrJJ6AB749890ULqrO+7wcqF2E6WH44HaXtiPzSGi9uQ/pqOOzMOu1mA5z/vhrda24J9cUTJOuJQerI3VtnICPa4jd7hWC1Pl1VmP1n9NMp9lZ0rGSCe63pXAnaJ2Nj5LrE7LOZwggeNLmt0Abc+Jkptx8Hp+t0CvEs26VWwIdXmfskT2KdybV5ahVLTjUGurREmPixJj1XOFcGOUy6Xy4unLW/S7cwV6ktM/kDAl3Idak7fT0lRXnDRK8qygC2ewAVfvHzYQT0964GRulVZpAfDLytdGcHAVzf+tdTekEi3RzTbnzm8OrzcidAncKm/cDBuBFM/6U6wsKb9p7XUXTGXp2X8p5ldwmLp3x8QFyO8G5JE74eOOhUFvRdasFz5nzA6OjijneXYs3YAmUUzJmhzaXRxJogywfkxeLGjYbG/wgaV5N3yYQF0eZgFyp6PaTJUJnb3UOWsRxydzZDohCzgyLio/EV9nrhDS3BSHCsz+zyad4MktdLB4eWEd5TzyoeQ10E2YB/yyKdz7Xsvvm5xZcSKRTtQnVs4R1XbOchvUohur1UBEa+Ey0LKEYVm6KOHRpe4w6rbSRzw10YS3JQYLV3ltULatTQM5ADQBnZ+eokVTkimfhZOw9RgeICqaLUCQKz0suh9+0RYDaJLFbI58m7iptKrvAkyIIIqcdtFAVJM8g2H13LKOgSrFfUaNv/ol4i+sZuMewbYmO5gNctgmZC+cJSNa/xrJbUB4qGYyPtDou/ODyelhzUW1LFyEv75meXevBOUxAWiYnwLfasdqdGjGN3oyuZwAwupTQnA+P2SZ13KdvjiwmDeXA7jc5iAEAY/4PMlk258VFKw64kNiO7hQ9tOhn9W0Swixa4uNKBvMIoANAcXRshqRmJGGag6yqMIg+5mdzcwFOsTfn9RLDt4hs+Yz3nujx8gzoiU6LqLqzbj8ZQV2OSukVxgujKlbWyw7+ZSLYxSZS1wOU2FjldQSF3GTmKONSZ6gOYu3+BXMn/1xNfAfukLgT++Ohr1RNjb6k5r9IMgzLrhewvO47RxHbsBvx6KElhv5BRqf/WI711O1NYvuf7P5WNbszaS+O7PXDSH4ddMT+bkmimO7AvzkEuKVYRYn5VFBOfP4G4bHmvRJ0v7szz2h+GY4UiarQdE7MrHEFmOLf/Q5EUrvUdO78soXpy6UUtvSqtKCY5vVzaporvuDhUX+9mpZnkPYZ58WyvLQxv16oENbgbntSg9GV8rB667UcY/7j77kFHQ2pg/djR3nPCAyecipHxlD2WCr7nCytW9SbWQx0pLfNCD58y7zHDcniAqgMQbAsSEqcYhby0ny75MRLJwyd8ovGiV/4B2qq2Q0PwhNOMrZHUfM7CkKzM2Ifch6K+Q/kEgrC0OjK2avk2DExwY5jYyvw6FjR+gSrHqEZe5Auh0r14ZRCxTStuqaWsRZTp25ysMhTJzmAaUs8w5ASfS+a5o+4eDIOzHuQ24Gpi8v8Y7fFS3e36W8HVmRikIPJcrDrjCVE1/vv6veYYYPAQ4WhuVdj3neSG6DhUE0/iBufZAaJ83cwwy66bPVRyTnEFsdnc8EMu0MMGWBp78DYa9URmXeOqr/y/YTimA5/ZfSlq9OMMj/x5CPDTVUpXCaNVj8xKtl7Ab3IE2gh3kbt+Mr1cawM7fPuE3vqYD9gAqWAlTC6cmXHdIeToFKtlNdMuDUTwcG6RhEZHIWofQ4PFGLAvC5TYk2MuT9lnV/ls2i5hA2YKr9s4pbuc/N7RsQ1aoGiNs0OYpBIjAfhOH19kYfmmjmk62g4Yf164ueKaYXo+oiCVodgX4TzZ6Te4CO9e0GVANWice4erYItT0LvrdZZEdGvkgN9+z9u2uMCD0NOnGXUhOma8IvjZipapYFt9sXhpA1NW2AQC3ChHe50BGkqrxqNcTQXQ7B3ksOqOH9QV9ureAkqFZjiSapYwcsQIugFu2UCShPRtbA7Kc/hAyeeVYMPhmN7y7Imx0igWWou/JXaF3aAPYHBDFkazAIjzAP0KZP34GmwB94dQO/qrRxx+6U7CBWeuOo/e+uD2Y55a61YI68v5RB3L62eOP1c29WSfZl96mDpEB+iRnenv1E+nV9hJyUYp8/gOviXp9bAWZjefAmcx9UphotaVx00EAxNYKH1vIsyGDZ21m5lKbdQPECH3hzLlYtlZFGgQY34Yi/cSAw9xxVH4Csbu+ahJEt1L6xG1OWLZnFbMzWDqLKsU+r0rBupSSv/GRKmcpJf2t6zpXo0jES5lqiCqozEGNPOmU7nm+Qi8Kl8IuAsUrunn61CbW0PYlWX//u5D4HGoJMauvQO5Q2cyUUDRLaPvrE9cVEGza5eDmXmH6qN8p82Fq5b5lm1bMhKZwGyI0siWtACvsHeBoLfr7S9zc7s3mR7DAeompDoSJ/Nh4TjQFPDLQ5ykV3hvw7f8vipDdmpBPdztPo21aj2jABsNjGD/E4W4yZuUWXEJbwUDUrDiZQ+LBEzDpdTNWrJ4gI9WowN+mdbjfevVAn7lrjPz6dLtel44LoYFR9+xybT0aWJNv2VUUw9+LaqCNq7ZA6bCwrWR5HE0de+72HFVezIcuEuM6hEkG+X23SU+6v+xRzzr7f0kwvDAy/wOhbNHv8/O/3W7vVdHgcRXhD2IiGM/9DmZ5wVJoYx3hYzClQKvqkXYhbRFBScXqSOrvxWXSiHmbFWPTeC92JBBJkSxKqJFd3DtKq7XZSXTnSmjrifJEdQtjF4ZJb5/q2/d/qCTuGa+Sdx7DF/paYj5dCYi+i06xi9g6C/IwCJS+IX/3JsX/W+MXfpDLQVXSj+8RZUXHcT/kHkeSeJqrOryOrtg1/4MtfzwtCDDXrf19BQzf6gORWEBR6a+uwkhOpOw43p+qXRIASZMpBPCWvB8S85Mfqs25Jb5ezMSf0bUyoDvsdMDtLmQJVttB3M7wneAuZoBg2p/eQUpcp8OjBbQOt+AeTw5h9HxQ+HdWEGf6LSxYLifoYn6yZ+uLVVV7Jwbqtmb8rCSAbSnMu8sFrAOpvuqmDMsQ72H6jX7XiVzk6pQQCYrTd49SVxWbrRTV1aUZmm03QmssAWCkdsK5ZcNkXOYTvt6li65TdmckXQY/uMkmuqSNu+qK2tX3O/5oQprM9hwcJjsIwtHr14dPueTWqfyeKo2XUn6cSA0gHQXjAHr+ooAjRJ6XWoIxuJDwCxMdz0p+ov4irdjaR0IdrExQFY6OJ1nJmjyXV5uIYowy0ArTT2fWs81F0Tiei4Koojn7q+g4Qm/+OjG+Qw2ugQtXnrD7lolVQCXcnCWEePmWkSH5luUE7PcVe7cGobQ041yga5oEHYpNG0KEyWDRKkkgl6ZF6WGggWu5PZFh83OdSAHIVMMyrDWnBF/4/hKQLlb79ce1XP7i9IjZdzM07hNW1cqV6u+SJtJKYuwKgHJ73bcEaD52vA6DIvjj0hWYNxne3B+P3jM0aSise9mQ6iCcByPCWukUMDFy77ZoQkc2PGrPmDdcgoq67CoN0PpytZXoEmg1ZyEOKgFrP5zC2ewr+daSoG9s/DGRrY6m690qQcVzB0+jTFoPH5RKKceS/ISiQ9RUjnY61iksNSGDt+5lm5vZKxjbMv0zVtVLm56OuvJ4pxSybWenMIpKGCvE/L8BMQcklffIKWx7TdCWqO2bdAnQHBhzLVy/l2WgYtafqs8GIP1c2tCz9/VjRNje+mUN6KSnplDlby1vm/jpD3ntDDl3mMu7GEw4a1YeyUAvYFJbhnNOgd1BVWaN0WbqfxtJqqQj6zCLtffPPP+TzWrMKli+jFLW6a+iGvAfdxBCytggJRMCMc8shpfPrsJk/+AF0shykrixjYWOdAbaaZjBdN6yXrpbbiCCIBPLqWDiMgtt/harTmbYjj+HlQ5SO5cvYZPFe/9MMoXvzt6E2tRXGINKJTqsqnsypPE6dO9B2I+zPTNIyMh00xUqH1HaRxCLNbShfrsfLAlmIrgRtAFbbx5GnrYqvofW/3g1xv8NcNIvO2QXXkfcCSMXaRH+j9XsOeGtk89CIWIy+wj98kSRnQznRFye+dncP3j73aZUxf8bRPq0ALjbeXcq9UMeYRe0fFJPBZXwqRwDMImgbTuIqI97ZiAdgDU6oRMtCed1uH6iMQLEXOrWpnomv0gsGAInVPpcZQjac+MEbbAQ63IGHh1tiOgjWqIhsoAn1n0wBPCRU1eQdc29azu/5y/UA//J1TXXtQ2J1JWi9dAXmvtHHESXig3py4JdBahqetCnOLR7dRNRrs4vuDbwc8bx7SSBGuzuyzh/61en1LSRWnHm59GV6tsgYTdDVdaBucCIMnYucdxJNMoIwtqZOHfU7J/ufCALv0A0bE4WVMo6Eyb4QcajC49ek48fRbRuZG1WtJlPXiD13KppReghT7TSRiZQEX0mYoUH2jECXo+6JlfkVxyYSaMzhNIbjDY1jvOg0OM+JBQbf3yqMW9cvEYhApYZpUSdNLA0yjgpubgp8dIKnUzJXlXUvayVXkL8G8u+e0et7W/CiWOVWVzL5x84TaW6phHVjqPYOIYHNSffDI2Hskvlq/WKTpuWE0kJawaHK7oWZ2i9UCUfdevY29tQsGlT5jGeSDtJEO6DYmRujFzTle0R8JhPvQ+DVCsf2UvIdSh4ati7v1kg7ffRhiqESF0QKFwbdIBpMZCCVAXfvwqaTD4t2xtTY+i2XBooRNViiJrbhbj7rWGc5s648Plhl4fAUXiyRXYDdZJ9UJoCq6v/GFq4B//aqmow/VyFoyRzNMwbX7M5doil+wF9+JphFrfrvykNNVVGPiuiUwC9yJrJWlYXDR8fHEUgxwp4F8QpY8PWrjV7bhwXULRFbFGcZ2GDIJnENqI70TSOipDgrKwpHYB0JWJlS83GoFUynFFSqFbAGN2gcJJHtj5Bpf+VnZLiOwnBDGB05Yptnr5HJD9MbeIBapBT8CRd6FjfozXv/nzyVxRITqVK546uPnogCem4mirlW/OcxJ46ISGTICrKmVqyX4RGS7q4vDS9CH5F3068T/g5g1/d+ZyMU1I0kYaHqnUyHbkXvxQnT/ISTLjd0/r9OjlaXmKzdtSLEeI/fnW/2idA0HSux4A4KicA/dUz3m33eja+6Wm5YvR/E0InP6BhxzaYwi4ihJ3HjFBjFL0dL0DT7/H8GGMR3/XaD26m+LD33l4p+c6sLqFV+cQquzmqHGMVj6T/Q5wbUYtSLpweUnJ7P4LEf90N/PB6rOL3fKsRIHZmUwRV71RfmmJeZ8NeEsiQm9uOFzHzhSih+QhB5wsI1QG+pVCwIibzRy6BAo+7gdtQF9c9szEqhWj0MNqd3zHssdsZackTJ/zfpDy3qPHEvcyjGNFYHruQdlqRICQ6BxsTmQGVq22MlpTCLiRwUZivga71heBXm2Hu6zHSn5D8P2ZtdCZQKHmad9ZVh+al+Z1Rw/c8OzaKBFFVmPAR43iWd85H0PDrGyEwNCFsGC7pESl9IOfpT9ZVt8XRuXGFfMYury/IRIv/Utg7mKjtTtwG1IMt6A8sJYCMgrLzTlwgYXj/SwdSb5KOOETUGBys+hiVU/Ih4zyERrtrQSnadt2DVAy7QjMXrB/zNPYr2svbeptDCVdIwlHHDlfGJByvThbVc8xKo2oQj63QUpdSJu0DgHMjC2SreCqEGW8eTjYYpdzvou9/PwNb/6Ai6woJhZ5erQFFols1UmLGbDPOEPhx0pdZtvncabRbOTLT9A+WzroRAIYRyOWb/TTiAYecLzs4nI4o9iLLObOi2RmKXJwMVG8aJrdWt7c8ScQvwbyKXbCSNKQR4XcvvMhoP0pJnbbRXOR8YgXKSGYiImwkQj/LcTHJViEQ0IUuPhglDd/8DtB9dcpe4ZsisGq8kOms+ZjZoWL7NgfatsNUq5BWdz57Awtoh8L7bUXfblwMkCmtfevh7p3zCD6cEZ1yCo8ESjPCXZxYWSkqSsk8+QiVsJ57EeTjEFEmNKZsp8rZSeM2YfqDumEIRCGhN3155dE+FGOwt2V/iHCnzNE6xqGt/koJYft2LovMa+lOetVAvt7duZ4oUrfGLyxeVCWMFem69xPRKdvR/OOaLbMChVtpguUeWCswY5W+dtkgPG/F4HBRZ8CWGfKijQrHGtt52iywni2e6hwpm6PG1Sb0jwE/NKzWR2wWkjTmUquE5Q66lFAKmKnGbjrUm2PlLia4ZUgr/4o7zrK5+OOUUCIkLIvupjeGPvuTC2qYohbOoMoloabyhRkTqacdpIFDoKaleW1kmfWwmtDBZt5gohb1WMcQSIkShLvhT3huCKj5etlC/q5JZUy0kGs8KFjBxkDQHvrhvZQxKthLGttjrDxNMCUNvKiAQGuxPgLKi+hxsTw/yGNIjtPD+KQWCGXVctL0hCQCgLvQuoyJ2qBDAMbXHDbihpGIjBRD4werC8yKqlk5UqlCoNV0xif/s9kZb49v3b3bZVeTrBWMsHbR7o8LQZ0lXumLmRIpFj4cxJg0Nx7lvmft10Rv/FkmSWlaeKCP+qqz2o04hcyYechMGjJpPja9LBlaQVz9Hqw+M3RxolBjum+wccuGF1WJIJ6D41Y5meJsmu8IMYMOUE+ZZc5fkcL+E7qY3bsBP2oDdSpd32DtVxUEiJ/Z/1T+o8GDl2H/TrjIoAIf7r0XE0tSS18YdqqoN5UDET4N7ejTNYVZNWevX22YxPe6XfqeLdDMs42JXklUaPZVGL7XbQMjoeUVZ+HekJOqeEZQV9aoAvHEOJTNT7T74qNIgU0Z2ZVuk4DDnEoOCSFOOjJiz5KkeXw8cR0GuiNw7rrLqcMFs8tNm0+F8Phrr+OoOcVEc7e2SvpzoOj/aaUPDcRPC1621TxXLCeCgcaEidkQbHp/9vt6Swue3J/JnvdJC1dh3rVAa7YQVGtR08tfa+QbPZpVe7ECpchFb3MpNqWv5zQEYobRWfOxXjhRQfID38XjG5b96/cGJxeEjqHhkTIGGTjnRHJO1mJAvIWQ0oNvZBTbfKLzJfRQrxdp7Ue0KQ2bPMtjoImUHVGKNAuuBs6Hy9073IJmCwt1LNVP88tprKjYwaVjpunM1UAlDEtHJfGjY9iP3+2IQrAaQGfUn9r+lcsHDPQsqOq9g6lpw9XjwbAAr4O6bOgtK4xOtgtNmwnOb0AZUGVXj2Lqt6qwxx7jrilxKGc7fIbgaJ9JUHfhVTBpdl7wAcr3KLy+u5TyTm9ZwD7d4KNQmuAtrrjI056+CEZODDxtQTxGRA0d84KDYfplvXS5rpgs3QvAtWuoY9Qx6BdQAY4z0qpAeW3W9x9+cQgTTSws9LB+vLqW9Dp4G47jI9weOnsis8CoIEf7vYlgmQ9a+ROLyH6PSrqMBbwg1VO2N821dnhO+oPkRvDFnPL6X6Vd0g/UI/rviQybLB6l5+EGUyGAPNDtajNKOrh4dDJqgoPK0Oeh66oggE+MiwHAk2xj03rCxji9y6aou6Vb3wMoJObLNek/0AbGIJPsZYmmWj5hjsqi19blj7qCmcOwvyZsQGoRFgkUVjRMYuTKMvvmF1fnkXMFaHEhuCDE05k5HfwW/55rMVJu4pOE58AuwiyEGS9EIF5IDhbsKa27J1rIoQ976FT1XjRLWRWGQE2GGG7r8bFzuNmkJs5E1jHF8JNZ2E62RdOBJNM8EyMgtWcnMtm/mAHJgmhg6A9LXEGDxaJVkfECJAP/mRHNGOxBV95BezFImgj1nunsHFjuew9u53AlhHgUMB/BpXF/m7a1HicoBGQuwIDop64DD/XhAyaA9Gbgp9N7v9aBqbt4gl4nos3hpVLGYzQkjPZfmTX9mGXYIFBQ/gXQ0FCO+XVr48jtZUJfQXYM9Vt/3bh5Jxk6j4oyZhSDAHQ+iXGFDha/bODz9t/J3vR+f7265lJtw4gt9pK7uYNZn3SUDD0pso7EUFgRDmVaa7QK7kChz/cd+kHeyoL3KFPip5XokWcHUbSFwoMJQ0S0VjYHinaod4Ntil2JhjlW7kgPEY7R9SzKb83C1g2UiJAO/kA3FehL1OfuxNE+aeaWNySxtdkT3TXBgLxC/wwzxC7Sjvlz2SycqUgnogantWZC0aFE23VaBW2H4DRwXFtKVPBZlU7tScux4ZyZ7gIKgfOcej1ho+1NHmZqhGz1BOxXbeA7JVzd6fXCAtWVlQtI+6HLzTbD+S3eOEWny4H7CQUfbRtOLf5UBuKlIKfyDV1t79RmnOgiSzHrLbDQUJ5eOYY2tZDCH9LAjxLXBiImhN902IKAQJ1+jtRqxvwHNuV8HU5eYN5emAw1FwrJZFf8BujT7cu0LwTWs3JBh5rKJODRw9u0J3ErNLSAU3AZyQraOvZIcHWQQniQ7GWpLu2ZlcoSuj5uIkUY/BFbepyrRbAWmfbBV7XD2LDqlNQ333x1Eyt+MmvRnDoAfCY+VOEM2QqsXL7sy/iQTld4Eark2BdYVFzOAxeRjFR0THQJN9dej2xxnEvfNi2OAWiw51MW9jr+vcHHGKBkVpA9aDzYw++M8wmralMvbAjLNXc+o/QzNLbh/csrJQpt0xfGQLHzKpyqv0XCiEqnuzAlU7Yx5cvGUiotUkyCbA43BAxpbTV2lV1dgTVMhN1mr1o/8ppdvT68yeU3Ad/ojW+I9UnRs78AzjvowJUQn5cicPvh56JNqhgt0UuJNizpbKApjC2iucNl7gSncUtOvNro7yPUeFQr9CH26y9/qTNVe9bpyQP7XeU3ERDVQhJGuzcKUOT2wEgukY6zqmykW05EX2S7MNG2tL2fsTcCLLkXfbgyErTohG/y8GfJabEVslceEXhBvZjocZG6oTY2//3uScmzRgXnUKfS7aRTYApTvEve2wSnPa0sN5BKK4g9uwYtX+kkQbdSJ74m82bYZkQ9kk6mknBovFXi3FWh+c1lRmz89tdH1CPDVTmTifyHGMZf4/kQ5b4V6NZQupvbcK1HVanDOkaVrAFRfWI1GHGFct3j/clGZ76KJahMGrWEfeNHoWK9vQBMmyDpHQB6DPNFB10NFnRTXCekNKtVueyX5nLaVOXylDf1WeQtgU/5g0HiKFec6qLfwFo9UB9xOxwlSHEvFKhP9mK7fczIFK0mzMv1PouKev7igrbEG1Bg736otOzKOxrkmVxOrHd11kbeZnUtVmaw0be4No5ph+6GkGx3K0MwZ4bR2f+MytXCdE8Py1OLH9pcSRYwaG1bnCxT6b+OwfFQVb4ot19NHEgC7hIngFTva0paPx9+BJhnF/1bdx0tfwThEjcMnoIeHEy88OshLekwoga4EEEbkI9jp8oL8mXrcnkzHkFilSTVQMKhmvjhnaNJRi1qgobmLKSPYEpjerCNR59IMC+iNklfRLLAEJsM0dBsVSy2OkqPxvgN89XCfYKaB1yekgh615Yh7X3h/gakloHtsE4ZdEFCk+scYXYCHClxnjuKp12FOti9hYiesRvovyXtqHMWSlhUxu1qOMzrErgmM7ImMcQImCaCv6vhj3kuFGSudDSOEwbOmQhHrguVHnbN9SkZuh346/QYD1R8iC6QPH8pCeoRIc2Wuh0NahWL5zroxdohf4/2v6v8iZEZuJ39RAnEL2ws66QBB5ME6VTL46VTJ5yG1QHm1xvYSFSFAQVbP25GlkTQGMG/LwRVa2vCiuXQMy8oOMzkcr+utxdywQ9dfL6zLzZHVE0BNNVK/nqt9bBB+FZPhbMGEuTlHTujdqWUrHRX6Zn+3LBYeKR/UaMtZlvlXqHnciS5AMEztneGaty9rITpo4q7r6WO1bBi7TPwZ1Exm9Z2A6T3MLSGK31FnJooiXys5Y0Ib1rtBXUVhpSS9lFV96r7xOWn+lLe/f5mlcKQelt5tRmH3POboQJktcchpWKARRQumYF7iMJzSVxfzGgNj8sPsqnGypx9BjY1gZYXNitiTgfrqRtIlhxRaVVn0+bOAROWMuCqfEO7J5mNLtImU9Q9DZsu71BJ8LcTKtbMeA9YPAScx0u5tJbO2Y8S/MFyxwcK3jxI7z5NoSVoSOGr/WLWOLNLvzVDudOY1JOUFcwlRlwy8dvq1nYd899/TbOgKeQxh/eQE1hWm+Slc5cbeoHkSSymFXhvPJ5eb4xXeJvjsjIjNsmROzCFl5bxlm4lQfe/WiK8iaJI++PjfN7Gpawcgfphkj8PT25QfA7IHic6IlINoWtInXEjuPx4s0rF6bnJqJ+X0ip8mcIyx3NjVGVimz17yKstrWoCrsiTT4ZsdLDrZofpV1gcB1EJCi47zFTr7UR2svpUudWpjL8644PXyYXDU7IIwOeUNIiWZmcSlz4s9q4k7FxN4/WdxKx5B/MHBFG1LviVJicM7S+Clpodt/f1RztaFyT/PnFCIWnqczV6tFiskQZgau8RFGNINPQirfipRKDa8Td7RSqAKblMkOOQ/rIpSLTsdd2L5K1y7glZjWPaGR3B4tA8AQqHOUkD/n3ZV1B1Dn6x7Ju1JLQa/Lh/FHSzBqHavZW+23KbpMu3WcvFI93IhTXesYPnQESyjmsSvKf0FO8Oxj3yHGWzq1lghEchucwcP50E40m5F1gDawABCRrWGSRyj+y5Faat1ogKlnIWvIKQRZfQecrhRbSa7qc2Jv/+ywMMSdGV07BgGMqlNZtrieM3h1z3VqPTEVtMksk5atbuu7QITWQ/sFrb/RtU5HUcsh+fY5mk6AmGBEXKKVfghfw298Nb4bp558P1sUWeSwY4asaJ30zgP8DFTAvsTbKQcRuuYnGrzYGY/b2Lnt7aDFPxTPcBFYyv+R7y/w+ejSUCwmVHaSdmuAB89DNaUPvhpPzz0qUThdgF2lCPDJQ4+/vF7PbznYpC41ion1kncGzsRhd1Y9Sr8LKyiz1WOEzhok3gl3frrAHcVpOdSeYeoQoKF7mpntXOxckhMXrEL+HZMPIMfDlqH8FALQuh8I+KiZ8Xy1pKBUZ6m8VnSAEmafQtcw5ztF87xf9HlPC8QDRsJFsZVKi1jKDJ7YZFWNN8BJIJ8VAclrrMGD1fdXcdMJnMx5qBOtO5AaP/Mnu5SVt81TZvuRB/HsWZp5vNDltmE/GB228gyKHcXPbgbZNmN5ZHN3N/rKh7KomXy6AItvehCo0vGKeV9YPsqyj1vXLz68Y83ewQkXJIKLLG+yI+BUnoP0WCOk0WeWrc2iF6ocmrzwyV5cst7p3tzo1QhoKRNZj9VbNg9J/NR3cNwzHk2KncmRsBVvcPqKB/ELAgkCh5oWqcz4DJzQV0UFXReLVw0e24KlglO/oNrel/ZwNQ1PPd2j5GQStdu3bg89KsaicmNby8SX3FDHL2RY0EoQoMXKjLeAgfb/UOnL1Tzw2D5HI1I7mxHYwFgRBb/xCVNVtzY1cLCDY5jVlfZ6xOdqq+MUvnS7iFMZqJdRowTCj66HG3YRQ3B5JL3DmeHH+cUGv7SFtUYqyue+zSV9lLfdiJPRHxY2xVwfc04O0aCpmdg9A8Ns/DKBv92n9NlOeibR2Lftz6tG/efxWdNJnWD6ObY4mlJI9G+8sIgDvScHQtyHE5l9rTy8NaRmR3frJADBI867FRSy8EnYndgELG+9q/X5TTtscPe6WKwSedCevav0z+Y2yHR7Tkprs9YTb+X2NvslYC6C1OUadj3W/gSK+fGER7L3XXMQNNvnw7mz9F/LI5fmiZW0o8KVRy3+DP76ugnROKpj8MxtsBGph2tXxyhDsyjU/Y4N9/Q2K7C1E/rpVohGNAtgY+8Wk+UpFBTxtdxyZ8evJtuVOwn4i1SaYMFjM3JTBSBi765W2fT7MPv6SS2+I1ZLh849XkdS/pNxw4QDehVDR7Ybp0M5orBV8A5yUAweezrOGnWrvxvpDTyFGZDBoX1vX1UQO3rnlBg6iCVnGdwHRT3jXJNs6t15gZdIqIcFkO1GeRIKcLkiZDBCgqJ1pFxipvvV6qwxEpUh1l6Gf36sD6NBhiBjezfLsWmZn3kNmIu/Lj6DbZ5F+G5DxabB1xgbFx9Y4sWreicl0S0/P9YT7wvN67ShuMlMermoi99/elBJdP7O0TDKlJMQJEd8zNzGI6+I5Ha9V45dShscBFwWYzIcfKRhWzwOWNl2ZH9Rp0ajHsK47lvR7czxH7RwvQt2lokNpnsJKFly/zFs37E9x5AgiI5RsR19FHdowfqZG1lk0FyMCPulWhieEFgS+vbcgwRKLu29v65WdfEhJa60bw7UDpuzvuI/xEWqA18En4FFi8+4V5djUSH+U7mt0vETzelItP+QaXrfQAcCiLAGzWs9998xAWV1Lr8s7uR2daC56LZre9qSrMoofzLLViPzM4L7p++BUOt6nehTNNIRRtXKAPD+FEQNWisvUwl94x/x+clfKAUkqyzJXhQDnsCnhdfEDfOlNuQ4RHTn3/u5iixQ57XVLL/sXOmQM1uCjgIhczdPU6xVad3r+44pGHSrvQRFHUkcRvyP+Oc6YqwN0JNlgK0zJGpd+gm8fC1cC28z7wyATHUXNKS17gVjTdqa0cZMnVH0JDhB8Gl8Fy1Hx07A7DZe2CnKEs3NCwh/x2Tm9PIpNvoByTO8dcBdv8oUpu/L0JnKJMURM2inie/tFDGJupVSpHl6STA3vSc9L6XBfBi7riloI15t7hZesPJj+VAvPCFQtL72bZDb1J19GR903ZhaV+86d5a6pqowK0hqmLH7fw9n6dRBOmhJUkLgHl2Yycil1rkZwpaas1gab4/cs4DVBQgoCPV9rIs20J3OwWyKuURC8/OY7lB8CLIVcQwf3XqAubn1fLl9CObLt+qrns0CEqHIYGQcBkHh3qLg9KiGCy0D0OCgR9qzfwMqeGKSVjJFmZ7hbmRLlp/escF8AE5CTAwQfk2LI6naE+6OO4oOccpR1md8l3p6piuX9jY2C68tRk/w9VvBBnypGron3dLtNrUWYfT1RzAJ1MbsamuHBm4I1YBBclKw1RF1iuWe9aUL7jAD9PQEq701HVg/m6RS6N2bRVGYFWaqprXk3FmbR18d1Dmksf7HCip8KyNlE71423ynQrsbTCUKaZWZnrjlLOmEJ6jTvHYdPkPeLxEeq9n/yn14woqRr0p3uTHN2mlgX+8OsZb5LK9ycaUQlFv8BFHKpu0XylrbOB4IvCa2ngbxnQ4Si4b+/6YHTv7Vs0oh5aLsCGWlOuidfAg6zL9xSJr8Y85XkfphT9rA75pkiex9bZIEC7yypgNCkMUl2FHR7EEl4oF2FufZxDYt4j88xHGqJEInpGdXuHlwoWdSanvjel8vbkmPrRt7IDWa8RlaDTxF0P6p0fYIhW78I5bg6FuN3+HM0cdI8Icpa5cOSNMmCBZzwt+20uUNEWhDJkv1mmihVg8d+m180KyWBDbY7bLcSEzzn6imGuMtqMs8so6n8DV8o/B7Xt3oXNN4cDvo/8Q0wlrx2YQ/zhQNhgEWcjlyszQkwfXNJROdVN5OtJvxjvEUZhWQ0yvwq2ISynizUWF+XSuKcE36T+yhlFdKhfJWoPbhinaKI8cJfHm9jDHQ+xAPuf6myoV4mnoDBVXM/ybOzHKnC4OCl9h/+f0F7oJ+gxlqlo843AHHT4NKPHmwzTahd5HYMTX7DAhg1ts0eqhi/9Vegr9AW5FS+cvmOOoatsrusFa5HzHH51N++rPahUn3l/RwxJjAMpTY/l75pcDwfjtU//xqWs4jLDxYnOUG1N9YLzZ/+Pv/Gt6gnPcYoKfs6xWgtK+7wsi9rPmpX/HnG7ONukx43Z0ejX8mGDCKdvYkgeH+McdzzL8tEVjv6JfpWkW4jEXprsDyLzPg8a02mCGYCsVlXbgT7FWy/NEMDWpDHq/70GrPAADa/KBjbqwlWe8Y8rB9UXzmHX75QtRd5AbFUKQCLqUBECO1f503gcUvJ44JsApsbu7nbjSO8TNqr5tqhOX7CzKAPX1MKc31acsGC/CKPLr1+2WX6DAbbW/9tLMGiIxAQFhOUFvb2JPgHjy9fzzaJBGx3yOkKUnEQorNZHHydeYDbKYZzOyNikVQryQ3G7IlCgnOlv0cxuwFVGmkedpEuc8gg/ZcPDOL2dNQi+TaabgjbpVQxaTUpU8n7hQoXHdZYXX/GTCu+0x7Ev9pehuLJ4xZuzZyCVB8psQj8cqfzScSBvk2/HbST7G4b0leQCfRjuNpdcFYBEbnPZNtL+dk+y1Jopm6WYfVCKN1D/JAm4SkQAGVxpZugKMy/tpTct07Hr2pvcpZvrpEGnW9xZ6/99MCCBu1DPYznBvugwKshQzuL+u6ADMZN+il9qWQ77qbNRMooo96jSbYQ+/LWUJctl/oqrYvBxcbeCGd+NXNdm8aFPbAzs1AWXFsT7cvTmf4HrUsgqSVA8C43mCpuSjUws2eSc6vDC/cmfxaroM8at5BYFPg8IzPuz4cPMmIEXqTKA4H0Ed+N6p/UjiU/cG/74S/0nwlG49gfmihhFnXIprIphO/92D89WUNa1xyFl9P5i8AzBKvQeCKi+5kKfRexQidIQ8rkBn83sHqVazwQShw1Xawggvn1/ZU/z4Vwne9AEieKugH5s+KWqP+zJsCr33BEEWstVS2lfZaAZdLPvEXI/F/uFoCb355SP+kuVJUiUZT38C+LRo6FHWJ/f37rbL62bwzPQ97q4aNcyN9fZuqeB7m+5dVcMLhdJdrpa+x30P2Z0rE3Bwv+TqP4bvBZ/O+O5cHv/0I1SAvCmJrDMy8UQApwAbdSBqOw7Z3QPTfNRp9e24EtsL/QE2i4nYdOinxvXJsQiFod/lPn7SPyH4PRj+Apx4zvAB6OyYhGI+UhRd7hwigD7tzr+J6FktPQlAYP+66MRiOpUcevIVzoCa5jaonIis/fy1Xt6JLo8rTu9tdweOTJE54TGIWmA4PJRd0z+cWyi3u1FemANBdZ/aVOLQlorKLWjq44pzlPEN+xCPLJwbYGiUZVxsRhKOoH3H5RM72Gh/wHrde5fhtJKW1HA1CFHFYgPfYcKKyBzbiaDXAahl5GaZzzBCra0h/neWr2xjtfxVzeEgB+br02F7QRcCGfrRfm4Js5I27IXyR3jlpm7sw8Es9TZyWh4Wyb9WBzO2ax4zIcupmmplCG0DG9kO9hW6lkSiv8eoWbpKxKX8tpBEG7b/uN8Aj9BzQiHI5bFzeaKjwM07V6lQhaoMZGaHHP51z4gaWRfQMpPce0sBKAtU3WA7mHGciaLnQD+Ep3T7sYvUDz/fL/714CBcbcbLlhPvQKtZ+anuIW4jnPlYWsYXA9YBDLEyAuaEMLUxHm8IfNSkYOSj5JotsW23ZJzM+SbbU+bEQ1WFRnZtmNuZ3n2OuxtpQovM+S9Q0Tsj75ax9qEWi9J4iyi9eWhnSWeoKldEQCGrtj59MjHBNRK7MypoygO69sb+n4c3tD/huvltPryjRZXXRlshWpK0T1AMUvDEUTGK0Jp7brBmDDAqeyC6kg5e/EbK341MXoHAz0cfbWT5QYyhRNv9ecYef3WQMPF3m56jvqh8v9kqZ+4697Y0ahH6vHQSRAIReT8K7cB/wxURtmxFyz3h7Woouj3XrhKu4SAGAb/YJ+tkZ3uCM/My0uvruCHUsXlRr52ljucu85OeNh4ShDudM8gbqBYyQcuivpMsYn3STMvPq/O8esm8wxBYmPXK6lVYf1xZN5D0L+TupYvWWJi6xzvRWdlrQjjJBAW/bbbvOjYUcizAZgSfYCRxnFE6VOYSOM22CmBx0uhodW8LUqq4Q4DcIpn8iJl1HKYsOwVQ/8q6ozl8T/F5dMaTwCBHbgsjYM5lR8pmoN4iiayS5QF9YMdX5Qmf9SZPA9FNLAB9I7frUjECZUirlklmXzRi5VOaNefhI0f/6wNcxUyZ8iNgPflufFJiljOUN4M5mRKVMWI9gL54H+TxiwUSqamdOKy8cM66FRlEThs7RE06JOVRVw9hO2PRCzjyxor9xdChdngrJmswl6psulgvqcpHF4xAdV5QOBzXxaPRPC70nJCc2rAp2Xz5nS6/1ngsBav0O+3eMwdzUvhO7SZgl5GyJCnJGaXRP0hYsY2CGtQV+EjZ1gtvPHtKSbW7i2jET5DrIRJHZRAGoHuUtZiz2Z0PfpMUKcvL1+xa1McDvu4OPXeKsv8r53KZoN4BIF87qmdcAvwNEE4sS1lXQ2dHrXsyxSqxYthKfCRNguwtOHfR5f7Mh0b6ZucjxsBq10TI0IG+5wp1gRyf6Id2TjC2gAST1GILJGboZrTnDBLT1FLKT+R60JrKrBG9S/fwOke8vxEfMZOXXi9ITVdEDDFToFC5mATNMDnDHYE+O7+Rlpa8YoF0pRbke/lci3nU3bHx428SpGcS7sLWpPCVOjSM1Rzb6aLMvLkvPP4xTIW+y6MvL8viE5xpYp8uPVD4DASvO1Z0Pz7iXr433SkODLuksyv1nYHbGPZs2vczOZs0cWdzTeGPSF/mNbCDujLX9j5myv5Qzl7dJffFFfT3XN66i1nJknB2ZR/9oFkJk0HEN6o8Kglg9g6wjDvhQvmUOA6pR8AQvow+0gxHahG2N185vCOpstWoP3KKzNaHJN50gpVuS83TpjjfSPNtMjVYTBotU58WL8/q+/il4xLT69Soq70y6QB+qs+V7UaB04enWzHqQzCNAr4ed10m9TyuFUyvxv0rHKlIbaXA78lXWFNIf4wsDu21DEenwv/plbWpc2nEvZaDDoUY31VvxZTPcUYzK/pEdGhGQ39pePntxx5oBfJpEaHRSTNMRRZpLx7xuPHUQox5+OPUjAGeLw7I65AHnaVXOWmwz+svtlUggKOvTELVKajWs+KvtibQGMUD1s94fH8rDW760IaiysIDv75gFXRvXGBPXtu3r7qJ9zayvcGU3muMjNdzWTs7FLRw2O5iPlG1rscJduRU3e+EW+G05dSOFDin/N3sV8NxqR0+qT1+bJ/DnbfVq3+cX3ow8S4ovHeUiSuWUIbYMCjNTuprZ8845FOMSVbaGn07AEr3pRgRab2Pp4TYpQqP0McBR83VpK6O09KasPVJJ96JBQRyW0bC2zmdUoamasJLV969vVVdcuDTyFs/te+tB9fZppx5T+pM/9zTjPBekKnWoSa+YGMZxenr+OeQ/CswAhTxopcvXpBZ9/yd8njq3TW4By5FdmkqOOttEkcdTinLn9GMl3PhJo5TFdPKF7uo7BOSLXtqppKroq/3RahI3oRx3r4ZoADCeqaWRUQ7o9sUvT4AqnbzMWdPogHT8ECT1AiTo+RJc8oODC/qjVHALmF4S7misi6VChxeYS3f4Ub/m3Uh8AJpdWPS48F4nW/6xc5upN9n2ev1S/V/BIdm2BTurCvr7n6WncG2xq9G2NU8XarLyp1LWTKo6KfEKq3ZQehXWMuWM/CSgjPsTpAWLhBYqTUdj82QZ1hbO8BoOMdCeI/GY7P2+0Ps95ZxkOsEwkkvmhNk+40dg7YvwWK2oo0Jyrp4KpS8x8rYyeM69lmevCIwlCkQnwBtx4crbN21wLzVk/Z8Ig5trq4gdPAGatcD9XhhbqOWUqYuqZOMRgBae1200pog91ArbCE2tuA6VgT6Ylm0WM7BT4gUxwEGAIl7Hm0YGWU/SgaScJ5tde2D/O90oQDjmcozx8BuFkLXHZdzHv60wQw+F9ejLGHJiA/UQy7jt28m0xc1SboZowXwXBv/9jg/iei78lBLYPZ74kkqLFVUOA//HIH759m28+0iQ/yb3ell1srgvZB+EjxOjGwB1b0SltJ1HECASgjUxEHWfjAolRPbDBWWjqj4NoI6rAjPloku024wUa4zH8P1yvYhVD91p8RNkvjmpcW3yG7035vm6GAG68k8VxZnh9M/H+XBI8sZxJ3XyT82A6x3tGTWw9aY36aYSQ4C8N7Dn4AAWOcYJM1EO+R9eZw0I1gR1jenzGnG6GsGPKcFe4a7chwAkjGfvuKQ8/2UaHRRZi3DidKZBZRSIsPv6ce99D+WT1wKZr9EV34juqNfWqn4HirmoWyyE+B8k5qApMZkyGvRHmiTDPFv2ewNTYaEvsEhVxBBsAH5z4LSmiRguV1s7BgGq+fdprrwueXavud75JJE6tIh/ZGXbaa1mArXIi7v1ZA/WfdRe5znlxhTYdbzdhBa61EJcQmo7qio7zV1F2XQA111MbdBXYOAlCSt/x88Sxy++mmem1KWQvYUkDSkBID66QFwL6GiIEzmhX213+jTmtunup8Yax0JowMUxyV5FPE/Pk0lY0zr7kT7vy7gKtYlPOvwUSBYCdOQMrOzm7Zg1WZ96tGp5DJO0j3B8rC2zPYYuEwvJr+khHlKCWFFr/s4WZawF0C43s20qrjga5pHj0ZNICT1HOU0djzDNbKTQheBWb+rtZs78v5UJfdLdeBjVerOGnf+ZBzJSAeQl9HP2iri+Fy+GVxWg6LUQVVWHsyPJyb15rWWO0ISL4ooMyx/rYb4SUZt/AQWmm2R6KMkh0nCWrjKnmJThj9sVJBXask8a3Wh3pyxBoZXsvh3xIY9vZ1ktpvs7qkWKyYyOso2gzg07pf0DFYiHpYLuyGbP2OHL1JAIxY46g5JLkEu32+9yB+ygGrkXR4Xe97H7WfR/RbA/GAKg2EoWiM3Zbp8BkkiJj2ebFM5K+n00Kx4Ne9MBznnI0/d5/Uzq4nphQiCSkmGAfd3ocOMtD6LxL3KfAl/z6GJts4NifN5rT8L1jXE6rrWzknra/cg0tKnQcllf9DpclbH++2AXEI7fuAZ2T7Dtujddvk7sVJr5CuOpIffni80TrEaIUpNCN9WuL5VsV728OsLimHR87EOppYKAyaBZWRlzbf5dvgK/jsTKJC+iEpASa0MTMT1p77TtdV4uZwmWMmsHS0VhpumXWkbaByLMOATO12j1kQCEvQb0/aaoSmsEi/O3ers2FPSeQL4dFNOJud7hwq0xWUI1HHPLbyVW055MYBIxvhssC+hdTji86+OUQ9zIKU0BDlYFg1G5gyZACKR65CI4FxzzvEmcjnPcQAlxXCBGET0Q/jAaEKN1JHCw9pjviiZ/FXKt6WwPvaYej8lrWMOtrMdQ0KSc/ZDoEN0hsg/FjwAKeOX6QRU/VWfiAVNE75pDmN1XBItNpg7rl0cLEUaSmob6oTJoy40o6nMh9+qJ43KbswgPlQT6Zj6pKnQBDJDpZ1Gpa9MY41c9rdjyKSKOgpk27XZbhd2n1YF/8L0AuiYVUTHUk89PRrHfuHTDk8G9oFjImWfITwZCGVZ0bP9zgyhVEi9AJ+rHtMDoeqjTz24KorUOA0HTbwlYaXeRNH5Nt6Pk8xjFqHROw2w/OovXFIn7UUU+PkUuLs/7xLEzGS4BNJrxOVBOhHkocWsx2xZvzBn+AE8kgneYuVYY3hFGffj6uKSBIzurwxKni7yvQKJFVU+oqL0ozEg0z9nF6zfa3WooUOOQtpvoCPCkum7twj2MZwBcne4qtb4BG1LnLUfaJcculgCY3BBERr449p7J3w5eu2IaXVR1sYCt7lHU3KAyKv/aL9K3gicqFXey9V6Q0nFJRHZ4LHc1ODLZfSvxTT2ZuwQb54VECGZquvEhZDdBcaXP5coWlLutBgOWgJ1bPGgCsIk+oj657TXpCRwXJ6x/GC0f1CBPlOJ+7LatsVH5y6+RL9u69rIVxl8h9uOQBV4OAOkGm2KWHnxuECDw4O1QK4OUEC4BEZsBRt8eQIECxPeumat1WQ5JHrQvXTRyVed7ntcDQb2yGhmAs90qV2pAU9/pa+ZhBNQ40Uoecg5S71NQKSy2dBbanzSPCxob/6uLlNz9Pu7HHyTtz/lyDpiWea0IgLUGWne5HdNjC5wsbV7R5lhlyWOu6nMjnAdewGL9PYO0a+vcotSC/ckVIsSPiC3KOIpidYbsa9Edx+zzTwYTd/pEznx64A22lHOr9jwjrQaDgSPozZR9CIKhMYwMNbEXL3qrE7ix5dGJKllHQhNb6ePQdAaxHgHya1bBQtfoXL1pCDK3jvCAYgbWzI+o12rT8CWECljY/ArnTyrDas4zB7TXglPqXniJr9G9QS18kjiC0/M9TM/4g+6G71TymEgQhS1fOYrqMeucxg0ewgNwYNYFvCUO/Vq5Lpo4z7oZ+I823bqrrOf6u+S60NHmlvF+C23wSAAt5EVSXceeY1vrSrkY+Y9YNf0gZTton82a0hGFXETrqqiQPbvcO1fDd9eklbvktkOIhMdYTC+vUIf96V30AdTBwngMkuwv3OkpAY+HNuP/5FvgVmv8QnDczgQq96jdNiSPH/wVcAtPyoJi1idZvRR4xorgdpa2kDdijKjSjoboxlxNQiXnNKreQDRTlSGUf2c2cJHlVbQX6NNn/fpiXmlUAr+qLo70Q+/iHu24CVA6GOSnwOI/L9XZq7Ripe0gZxqcEYQz67zjRbacQcKkNcIw3jAtD2o3N0teDnpbre/uhJ2x0TiOSwHy11e+1xo6K8T9HUKszSqZwitY9xT++tmx4HFQ1XqUVSxd4LgyUObtOcZsyp2VZWStY4A/rtiVVnrOR4eI1gNCB+eI/aF9KsE5Onzji057DePOZnQRLOfEQMCR6s5sKm1qUHNczL7mfYhxdBHSyHkvfsoIgjiZ23ZMJiLBFx43tAhfpeo8NRTqJDCHDPEMZt7yaprN5d+OxnsW1NlF3YhnegobmfIQV2PCrtuU0EBteJ6+u2KSwrYucOP1ObDxTrJVHqIJ4QpwpSC56+qH+Ab7hBf2SusDNNWYVWiw9ZBfkTwdt0eR82AhFJPkP6FjVAO0SiYiI6RxHHD9uS7s2754ZOT5yHvYTV6UmOhzYqd5Glmh/eGFIDxxRGYSzTYuAe8qrdF+TmwiYKSDr9FEaO+zPT35IuT0+h+5Wy72MiJZQzbDYm6t316DiHlYlku3QOApC7DF0qm8tJBiOqc6luvAW6ZTNnbBUmTjHNhlsp5IK0r47PGmNC3zC0RIS5ex2Zw7KvSaZ/niNvJWQalNtaipnk1OV9OAJVNyZGANnjO3pIBiUwPx/Y/UQfUMwLAKVQBYvzgTimZ+rKBxAck/aeEk/or3vndEEH4Irn1uJjXVVpMWPhqr9YF4LFLzNLgzEDBouFWbPpU/43dnSJjMUwmGt/Z2bTo8+vqmQsF7szxkKFLupMF6DkFBsKrqBLCToSfgUYK7v7X6HFE0e4cutgjcBkdHYUZrfXjZlj8MyrhCCGUgwWilDPvKiCQR1WsAGwchzcbdwVNBnbKo3uYOSAr4KiHfPwKjCedS2IjvFM40Z98EYtb+H1EdkkL6w413eHV1StDUWms9y4lklhNo3jJpgJ+p0cPoBvlGat+wEcs4qkDx6Wfvx9ChewIdR3vIXkoza79WRMDJlNBTE1MGCUvbXVZJIIEHpne6+kJIsXtSKsb3KQ6eeAg8s/6B5zIy/mZEFtg9TIHHkFdxNGCmNMDZMZQbwf01vbfdZrAybwNuRSc7NlUgp8fOCBtwQUE9m+K95zl9cNogHMgyUmB/Xvzm0sWpTS7WsAp6D04hKHnM+3v8FhCgZ6n+1st1WGOBrCFUwr+Q2ROLUg1QYLTyOCOmMzRfsVe8dK1rUhf4uUlC+S+sOiDebJCaP/j9b+eyznKzCQz2uWJj/TSzJ+VTNcEchq0zH5MRljJMLgMS+r+6KglMLqN8LzHfBhBX3+5hEVqnAyzFgMOcP/sKaxVVHR3963TmIw6EHjsyaJt5hHDd79Wk5bVQlurKhprlnQgFLgno9WU5kLDuPMs1zxdFN2CnTu3o89oF4eITyU/CwwGQICUykoB/kneiSrguAkNcBgpgj0D9dVgx6WgpypWH+Ztjhb0S5vQRWwfOyCy7xKX2FO6sdUiELDUO8aCjU/ZwrzGWzybo8viwEAHOdV/gTD6hd+Kj+u3K3DN8di2wJfp86LEsRSoANpQ4QPsLWA9C0reOG5ZobNIb/s/IaesKV6W86GJyT2BgCIUgXRtd4plf7I/TAMnaaDRxhs9sxVjpyUyJLfUuZKQin30JwUNR54oraDi2p9D3br+oupB5gwj1/oC4wWb3dnx/T5KykscJUiqEo3Wl82ii4zIbBixd24V/4K3f8+pP3bICgfhKRsPrwwzocYK81PUsL43CR+5j/jIXsU9mL/xd/JIh43vphbZfQRkYPRaZgETw8Vgukm7K2+G0MMDMPF+Ar4AOhJmQ0YLw6s8vr2xrq9qtvAtvncBg3makD0gkGr6QT9+l3Bg9hSOC6TJiwTiLq4cWuoveMc9Tz9tLpzDT6tVihDLNfYH3o1b29W7ilIt4orxsWR7OybWFg7Zmyk341+PJjJNk9++29Ax0AZzApj3MovUHd9iDZba7aPPi3ik2DM3hEOqd3+nxl+LWdUAyJFPqFXPtSUWdj55iBItHmYicDY9T8s5P1LsWA2stct9AJd3e8S/CimDOiT8oy2t55qrSTmv4gmsA5I+DtEKUNIDE8kxUN2KhZYbeoO1w7z3A8658F7FF5eRiCoGDfnUIRkUZj4TWp4RXaw2f5xpTKyakQw1VSoboVrPx1UbJMJC3a5dLlIBx/UbHxAdMG1dezJejQIUGH8Epk9lk79W5q9BjS1a0n1SuD8UZpO2qFvtX7dRzd9XAo3vCi7s1yGZGaw9fMwn+7728KE/ZgcgH/tY/gmkAMV+2sQrQdh5XurNwzAuHXVHzOszONeu992k5XWirEjyNgFWWMPRfIvrMzmnZ3BZvhNNqwgiv7nuazuc9cgy9m+DA/0O/uBJl9VRsgE8kiG3iGzIGtLG1qpX78o9qIsJClScZdOHf5sh3Ii42h7+K6Z4uGHAdvx62Q/4ZkmnRmDcCfL25fuOhO44F5dJ7kY5LPVBeemcyQDd4MT9Fl+RfWIRlAyQO+XVVo9C18W473d4JvVLGDcz6BaNCwzVx4kAVfTXY32j80Y+FR96NTTV0xIQUVgDiZDcgyEM01z26gNhxpe+CdlrLxIu+BCCfiQyZCaRgXr3lqF+fvygGMl2OBlJzh0A8+3x+s5e/EkgvxNUvOR0DTtqUd+ujtTVN8TX8sdhHbgSXvcK75mgPCqed8v1XDnwG2qM76WwEObfDANamfPu0K4ssyE59IyWAS98k/MaM0XjbW49pVZO8KPXKSiLDUuj8JYC6+f6lkDoCfQzvPCr/tHuTuYG/T9GWPbwSJtSfZaX/M/ZXmhQfWApyIJTi5HxD6aVbyypG5+uxU61tg1/QeruSbudVl5UcXqJvPKefF0h+/10eqDDfMTzcw1Qi10nf7ztPV1fBlloUiDXTrhltxw6V3pbWvvFtm+bmRWgbO6p/p1QIJfCTNgER2Qz4pcXS5SIftr12PlNV2x7Vb4wh3jczBHGMypKiqOa6g2oyNdXURCEdP+P+iy2Tv1nRVKABkDVwD53KxBS946qTeG+ohUCKKkvsA+P1AkJk6s9KU/mE90/WOORecY6v9WmR5P/BOXjfq4Q+BvErT9oChM0bzsTLX06CwB4O5qjYUhfu+G3yQUtjLdlaNCK70soiPlAB/i9xiuQ4OmxRwnQJJNzwlQ5ibE+7Mf6aXHLE6K2ItXZnh48xg9YejVc/6Qk7yrVq7dh85efLnbZ7yLXl9lT/RZ31xxNq/D4KorrZvpepll9vKq4giNlVxARsUR63q3vL4cGv4Wmu7si/TbUi2AJz5WBn636dVgMqBVXrDDXPJN/NaHZfDhAwdsDeuszxcpG2DzmJfJC4UbFJ78tpQkkEEWSt5DHUR7IM22sy9V/XzI6HEUSrM+4isxOX7CBLJ+1xTQjMMvnxkbAtSUQCbQaR2mwczK0In65A84V6+OIlVMjXKZI3dwMin4rwN49265tT2WU8u0CIGsePzQ/C6fuvtmcnnJD5bJuBo4z/LRf+PHIbRhva3/tNVhlISaFR4ljyyDE166YxoU0axFEL5Q3iish9lZM2dmZAb59viDJ4OuevVwo336fcoEuGpYEiELmIGPHZE3Mlc6TmIgMhChArk2v8aYh+gQ+iPrbw2+fsDj80twqud9t7VGs894FJIa2HTK16ZgV7nlhtGXwsbOzyYOfdrlHvlwhfvrPifi3TAYH6L3om2Y41NrkrEgFq8yhNM9D9sfQCsUkYh1/GsgM7DiHmciP7BAUI0Sy3lyWkoO+dOZIITkuuJaYaGL1m//He+y+PZMIc99QxnTHt//HwE/9woGF6gJrwxjnXyBv/h3zQGOf0BZoY9PdJKhKBCMutRBsEc8vrbBsDVCdX6vLvwqDeitxU0bhNTpnvkhbXXqKq54XPKbHS/QhnMHBpqR5em3ganqrUGhP+oI+di6SfCJNWFWTcI7EzHN4ANhxcqBKiOVHcK7Mz50AdmPOBwYkprUyGAniKmkoT3IR4R8oQFB1804MirUQTfzIzkSPdmxCtPrWIdw57dLdVPZkCeHF3EeLvNSvwthg6pLjnWAGucOXVNr4veDJOss/V/QS4j4I1Ba1VY55xnWL1s3+lz0A36X/qe3AI8FsBvxTYepCrr2eyvQhjQ5/FAtwJxRaLBsLjeBo2sB0WlAghLrU2zNsHk7Yhqnawj32l0dK4n901Qe6rOv5g3QHCAKuEubtvx8nxJs888OTgWTsYezztVBmy15qXK/m2qjOnyz9iyaqKNGFLe/icNumLgFxiwLwsyYhn4SOk6DnrMDQVZnL+uGU2wVCp6Mf0AcmDGCoRD0OuVmiuounnhb3V3LC7lAETggkc41VgNS5b6iFZD720ctRlZa7V1zHudPHl1RSmKupBSq1C2Ep23iS0+UT4YK6gfwPrq1pQN0/0n0D2l0hS7it6HUSbgvS/4VvVuImGcAL+7iSkrA93+MtCHakq0Gs35Gyw3HK2uH2zdnZKXNGgfLKzB48t1O7GB1GgAHpJw/QFMMz1jr9cd3VbCEvknbZbNihGDZPyS0I+EhVlLsKegH6SmnT83xDS1BwVfwhHhpAnqXOiaiNm5FE9B2S2MmieT6toQEvhP/h8NSUXJk5kK6/ZOEhMK2/L2qOCBuuWSLHFdAdm4R5ADinnwBy/uwEflaav02KY2BCZotfxKbd5F3CyoQ3DZ3Yjvip7jojw3b7i/5CqQH3+L0g1xffDVg2LA3Gpx1kk6fdw9yCkP+YlfLsUWAS6GP0LWYxRiaXkM8vLzOYDKrD45G8EggJCxXdRGkXncecX2LRvQ8fTt/+0gB6W65fUG4/AFtc5zLklBj9VyS4J6Gt1BeN2QbDRPdpwdBIUhVEQo6MhfphjNw9pVxVsVZVnOUN0JaBIxblqAX8LMsbEHIa5ueK7Q7Z0TbwNdvWIvT+4Zgzk1SMuxKrBUFUrGEl2Re4s0liyOxLAX9bWUFcTDPlR+EGAo/tdwIwBbuZBgw21HItFVMuj2rwW7q+6euM1g5e5DPPXMMkeDRKjO/L98PD3RVbesi9ckNUto4aZR2Mpdg+e2bH6tzZKW2VbTn0kbH/4guYoxzLTEK9gbOcf9gSB6MKMhBa7fISGmuToqep1aROqfaFDIIOPHqbv9PRPiFl+Yrc2yEc+NBzAHBCpB+Brq5ngptnx0QwqZ8nrtd3er31tdz5Hj7+WIqCrCBA6QtrbXkVUFxlSjHYEopQFFRhdRUfxi7DtU52QKbo/vkoYZIISewPl7OC+A4PSS4MTWExUH+r4bRGPAIIFPc4/nwR5aaXWMCquH9pMckPQgFbkSR7Cz4Pl/xBoOHyv8t8D+uWuIjitQOFXuNa7Swi3eFP0tnGFj/bJkECWLb6dRX3sSH2fniWLBLGd5ZIzIv+YtvJbbbhTD7xAP2R3AQwMDM52Ri2YsEkY6kPE6uItT0IKG2yc3NKZVeX7BKwPEmMHA/6dFMgebZIl8fHn61Nqe/Eo99uzrMveubZjz3wIJbItwdPeDCXWiTgw5PF2vu9V9CYSf8r2KKhfNHFTY27vJ/l5Y5lZ5bCKcJ2KfsUd616C/hZCGuyltR7+4wUQ8dx1ITW+/BqDjPLuz/T+zAwfGBhmXWwGFWK6hngrV/E+NwPmYA1KhJ2qsyc7mHR5IKQfaTfoCrHBJZJZwoL1zBT09jqNMDBNeup0mSK7LG1n280EVyeyScfKdDQiSwNsvgRfkJNogZ2v7Af2utFAdYuRpVidpFgubUA/K9TRdYfvI8l3ZPhZMvXfTiEQyALqhxY5FSqfCJq6XiBubqSA99dbFdcRV08aPUNOF9doo79ySplrNt2bjqvh4aVpjIcDnCsylaHoyvJM01REMFcn9ybdIf4wSLsx6G5rsw/GZh88JLw3IeVq/OXB8iL8irUpsuxT1PVsL8QcBAJp8N6pfbRDbtYhA2YGT/vQC7GmMTMTI/NEaCSREYLZ6+x4DY92WqFG/1hjh5kcvaYQlE2xWzPP26EXTusrvXKMLEOPShAavBNfwZwDk1lNIaZ4l8PfFA841Bzx0uih0x9BUEVkBpFDLf74h3qHVNzvkNvwO6vCU/FEyqx1VgkBAK6VKVyBVQpVHypy3EU8xJ96YUPKiI0Bqc56OzgBeB7CsozzOCIy+SNkVcAbEAdrSZernwnep2WzWGYMB+Th4RBgCSLAzfzbcc7fd8jbFbRYrk6mzmcLiueQE+jignnsPHIFBhytItqwz5lrf7qzyzlnlctmjJuWpK818hDQgOdU49Orq9sO5LTJYdUPVxmo4QO8R2NZ280wxql/OFPaTMPHh8ew1rq8YqTWqwG4blC/wxwzbXbcsRLDL/g/LTDPCwFPP81erNUlbiLLi//X15JqsJ0CDYjMP3DBSrxFSxDFtkMpFRQg1P9ZGCDIP7qy+blxDePHxHjFzS1eSuARvfMmbnOSbrNUd8BXQp6YJ6uOGpxtba0jZtJ8T8CPb6RDLLdoUNGChshgfYCKcms/eq3ttYng3m7bulGn6YfD3MmxiVGF8gVsfcKZ2fNpmoQVaJLWlYEcfvikkux51Ka0HOQvJgN2GGVa/CcrDSrz/jTHl7qsk3cB14vG5avHPZj+gGdstEDN/j5ExlyM+RtO7O2xJAQw4vBH3TqFHmdt2XZCPeEjSlqoO+DrEBOi3KdlcU5xGn/ZsQXkfXsHEA19S37ODhc2SH3NpXSLwXJdNqtyWptvXKICBDR/XCzTcqUmv7uEiGUmvPqOOkwcpoOEKYJDos4KPceeekSrbLdqyOxpyyL8IuKL+71tiqrKn3As2Z02Lhy8joovdNkyHOB88D/wNXSo4ZhF3DlrSHg6qXPnHvEbwgYOpZBrtaP7WQZVcg41UuEMZGKzlHGUx5797iSMZQuDNJCwzDZozmRIRsLgvUrWHcT6lgf/JQRsQ2WxU4kpk/O9aaxSnfziQMBDvIRndu0S/k7ybNjC2vURQRNlcNaE0s9tN0pk6RQcID+3mhRc1Zz2BsOJ1zHmL6LF1fi1giqFWOZPl6PChY7UyJewbhv10bu4wR9XWEEUzWpCyjinLKZAU2R47/xf0W8obkBfuqb9+FDwj2sQD2zg6v9IDRkLxdLEXHTfia+RKdUaHa8BN/TtMvEdUZRZJHukvXn/RT8tWYg4GMtXWKaM5XzKEs/Y9zvlwNvHzvF1FvPiLVB79WV73PgBP9D6FjnmllqNYbz7GKguJRfgmdtriFuUOSfqeRdJXdG2QKYAug94laoJaTjD8TDU1HWmmhr3Vg/g0UjRsrEvQpR2ed17BunsgYMell5YpgRmxx62879NDwbGId7NK22NwAwArnxpRfmU81a0vJ+PDUQvSUB+9z1w0f6a6Bkt/n2bvG6fPUW63TeUmsJnkQPmXRFn1TF5gL9IE+N/lr7RRHjn6rcXVwb8SyUIPJKMkwmtSpq2roifNQVe4LU3yO+gq7v7bdiS76WuePkYgAh1Zdq+XV8epOe43ujgBU6si3yzxW3LYs3ZWmLeqtqRVCZNlZ6KaPmYw9+t/WkyeMVGNjfQmwb6p3ANaqlqyfDPbNDgj+PcASdS0uC5AOMEq8PiRG3hyDRcuyXbLG207ldQkLCYxlObTuGY/N7aQp6ncNOTF4txhH6QkksCDY7VTlT054/8xcqfWybyRwa5cA6bXay/nHUS7CkQ/eDtcVuTyp2nACkR3kEdMMqlNWhrLRNKtmBPfhDpmXVEY7oG6x6UL7IhGDuUlJ94uejXKIZCF+s0bMtHXoekdH105g9+h+0Y5YhRsJUHI+XTMPn4EZiKDhuLUbOZ/vcw55dI9VdS5tnuuseEJgS1kb+1TmrCJTCMWynU19+M4LAGXY1Z8ibyNx3oMrSd+JvAaPR91nPpwjpb60z55QyeJCQMknQtvIWcT9kkL7SSO/ge0XM042/t5nUtl7rOQIoS1ZonyRKHRzGdj/3/MwltfdxeXwBFqT7GHyljO19/OT/Zgse0LQXU/J1of6zEoAnUm8YGXD9NwX5hBIul4JX+S11oo3cV2DqS8sh7CdkSj/F2N6b0X881d8HW/LMJ/nWUu6jN4x9B2G5G+NYg6HJJUYBu5kQDBP6MXhbFTYlb1Uy+Vd0WP4UKNWxQxBoYmOJX9nGekEFMMcrEdx7KOQbYMxUsicPn4+NvkUmztqTf4rlzH28kDdkBprLF9nMKIZL8QDRxi2wnjipdkxzlv/GUSRKaNc6dXSGFvvBuDjaHnpfaRjUFuRv0PjPcrKi12J1Q7bBzuBSncvpW9dL+Uu5DEdioA/lIjsvcdrXue6AKy0gku294Z5c7WrUIkb0R9kNirKYDOGV+BOrNQcsfmiCCXggK7BYqq1bwhdPu879J+inp9MpAmcyg8BYf/+yrDu2hxqRsIxb74VMtTmrq35DY/kopqYVvSfUgJTyA+KC7NeeeVwKYF323IPYllMRB7fE7d7vT9is81S6itbxl2DcXEVFOrAq40QS93Ydgy7E15YSGjQHqdPkhbhSzeqyuaVaoqcAcwBKjhevnmnkkbwoJUzZ/p9U5LnsGo0TRQCiTOB1e17KcwE61HwaLaw7pgEomBVRzeNNwoXxJmLnB2W8qKebFRX7XgoirpDrzyl7oQiK4vHVe3Z5bks4WO4oAN+yVamYhmqdZKpLpw0iG8W9YPbhDFGCvQruTuQT0H5J6KuZ26n8FAdsbNsS5SFSv/Vjcu4aON4JZVpG87wh+de+iRXSsJeiTJh1FYPp8RBhHplEFqzITptD9OtS5wxbqMFI50cMsw/mfbXr4wgd3cFajo43AOZ9lKmLWc0DtjedqTAOQ1/BjcY6tcIp3LL5OCf8YMnXIFcMq0sSdcamLyloryXMyoXIGdYbKUJ2dQHiq5Z0a4c2IjzQOSSePn7pX/SPaPfHOWHFxeJxFanP1RrwvbYAUaft2s1rVC0R7u2kggEpUz5THzpNKaQp3mdl7gUabZCpOBYhwDRfO1F3pel8amsYiWx1Wl74APkb0NmelVe7DsfYKAD6wNgWrFsioMaXZt2bfKuWxVamMOu108P/9xOmIEbs0vqomR7/K5OKziBaONzm+51IGqwARwoeJnP2fi430ATPUGnzN3+hMivvdJViXHiU+yt13usehgLhnrtthTGazYgMrROv4sWVq/8DMMRPWOIJJ44LGGKkCBYcwpD+22wyV/Y1XsDnh1p37arezcMq4sAywBIR+/3GEqzeuWXpDXW5UF+6mrWUqcUM+c0bC2KVjkVJldMQzB7/pqieqBQMY694KyZkWzi/79dV/8v6ZnpfHCPR/EjMW94SFuUEbpNzNsjEB2W+NvlZ4m3QSHhJc1CiPH/Po3amN7R2v5gbEvQTMBm6Mm7wZwxmmX+p3BwwPUiQHrvKnyfEVSpo0aPv0Yvi6mIm0ijoXNdYU07K2y4/1/wfKJImZEWlrLgj6h6LCRe+jmqEI5TpTnsG4kOR+0bW1q2CBvSCackdUcqFa/KILfDCl2bi/TFCkvE3/+4PS8Pjj5ukvZxUvSsS6flJa5zvAXVJuQd0KGItANBZy4L8vlMV9EQFJ6pdax67YNRMI+JlIZ8bnv1gQPjDNOjE3pWm3t1Gqk9WoNWjrWq9cUpAeHtgs4qslCK6/X7ofPVMMXPx2ZBd7SSDRvb+QGvtU9BfjTI6itR2iW3DgWo+lTU+EBuEr0hZiUmGlI268A6JkK7Dm2cEe3IwXMDs1c0+Kp3xtx+BnJVE0YESy3dBQb4EYOjqvOxHqtueXLm+lLnUIPoNvQL8g/E6anhQWzGzrpHaWMM/izZF6miwUgyDdWIfxD0EweJwwdBdNv/cCI5YreaBJy10NEOUM8v72QZiOdM5ZDzhNBHi53fYhJFYF0H50HX2HWVZY/TqMpjtlD98+3dskeJ5Qii9oVY1w+XK97s/KtOvR0XOEWI6Kfm3nnqEciLtGB5oKUqw+YjzS6CJvcGTOe6MTUQ5FiO2vE/JbV3E0Ulay1Mhi3ZypLw8SfbynZ4pm+DUNqHvgkjzlrmopynIEBrpr17MdJska1HPrgo2cxHv8L9KdxMJUJNPDnRLxKMUposK/FZ3kO2BvYuWOuD2RzWMDN76IwpBzOvar8H0T/+XN7U0aDWhxq5PEaL/766szsC7o4bSnLxHLTOyqhjYk0SHYLoq88k995C0ql0vD7M6n1NIUVTn0FsVq58fap7Kr2ZuiCr/Da4dngBs0/ZuL3KBXHnlIKVYZip1fO8vRcS0BFuoUDWGS9zTxbdrGF/1nbmCQJoyNU0agpLx7dHBigY6xafUuv8aG5Usr+nHT/T2FcEE57WG+guH7iODG1FT/2jAcMBB4Yl/s/TEeF31T3czDxr1WJ7ckwQY+5tM1QCLmbRB2ZY/Yv3GwvhSIcY1ycsFZoI3evyn0sAZL1OqWeMz/uWoJynCyNSP0BSSmcVVwecgBqGBM2dIpeb3GacocLrJ6VVdSocdbAQluxNSNWUfi0jKpSV7yxlAmWXaGzQbRC9Z6SCwO1XRzsUs7XtEp/5ntLiIQFF8r0qjrjdIATTcUsgQG6rv97L67VSOws8CL7eeyy5saEHu8L0s5eATEDYlzJs+y65zwjAcRryCTc6AnKlMbhkaicicqhDaIAlaw1av/4j7BneiH8g0YCKZS3mjbgtK1TympQj49w7kwlkqTytj5/X7noyPo+FsjojO5yBq5QFCbaxdHQWUlwlhWLrgDaFqfdcxiLD37PEbIh1aVYz5e/1HTtkG5n+O5uP940tIT9xVTrXx+snt2yjBsHRjFxhJlLlyeDTQZ/ye99QdeWhnJr8cjVfic4/zk4FClLf4My9uK0CVeg/eLjiHBHPQnGjzGT3NJUeHcGhWGnNCOYUo67a4CspzuVKt+lU47VfzHC0/MX5SnRD9hOXMVoiVBgGg6aBeKtmXcniZDFAkO0AlsBPrAj2KZI3FONMVv0GFaXamSTGE+lb4dOSKHJlLYOcNLPrKsXOonTJitipH9aPOi0T1uyHldE5v25CjoLNKXwgl1ORtibnr4Rp8npwJRDYpuQTuVu6dACJWivCOcrRIOzkjqHCewj/ia0slvSXEZf1ORmOOC/KUtJONBRJ1V9cRC8LWb8LMBRIckG3CtV7HJeFxU+JcuwNt4BUG6rlqp3Uu4N4njZr3QXJpT5mROAQBFGc8CdUef6K8RnsxlyhATDaENksoejw8/kjtaJoTR159Hi2kvmFrozXUCgZ4j1AD4Nry2O45wFrnZ0JD3a6JV8uegUlYORLy5WIo8hUPQtH1E7kkbffR6SWhnOrqcg3vy7llNCAXvnxZaLmdYNPwYH8tt8IgLJCYYllQnAd/2s044Kt26ysT+LGxOdSPriQfLVP9u8Kk2cxfvxt65lyjRXwN/k2LYCBKLL63GiYomuODnfD2AAQT4mZ7m01MM0Sq0j66nhdpYb3J6dCd1SnuQgBmdrSUM75YycoN5g4Wby/jJRTIR3mbNhl5FER0APvrpphBLG96lXQX75rQGLOy3aGOIGtkM1PWOmUPSmFzPjYpuCNK9ajzZ+N+fLdygeoL5v96i2a6VEvSCdDMyYQhTf8T65JGbo3lJ/CnTUpucbk++MB7L2WfU1fYnDVxYlL4eaiRt3QqEFO05Dv3RkanT5aqfarQOWQ8FtZc9MNaNKObC05B0SsGXBU37KXaWiKjR52MoFaE6heVkNoFzJ+VptNjc47di6DEOyuj1b8nQgJSK8Pvq5FFBjP0O9cz3Yh4zZfNa45CflRyffVxyyBfQ5mEmvzQA2SI5wmtochnp2q0ijBeGSpInwmKlak+mplzYsMvIyzfWenInnA/j4Cac1dMB/fypRYMVWWRzJOP1bu9xQ5hI1+4XcwOUWSb98OMOjMMjmg5YFusOlqLMYKj69PaDt0DlOBH/xl3J6QIYBx/0be0fvnuPnD1DrEfJAP+wha2JHeJQJHZcAlOzIljEkEgW8ZQuQ45YIPxOg7fVlh701OBHK7Cwsnui09zO4Z6iYo/OVTU+BRe4Unia4R+iRbv+RNUKWcA2S4yHuZWY2CAb2IOcQ6leZc+h36+P9wWWKX1IYiO6vaIUAJ8+Ld6LAnNxeNsr0h4IFQo3TRf/Hr0vtPD9fF6LY8qplnfixlP5u4VJDdyanqm9NgnEA8wTQE8fNrGoKlKQeWspNDz5aU/IdhOVL4JDX/unkxWW7h2nuq5i4xV1x3EE9d0DZSg3WE93OBRYGup4u58xkyOGDO2Nci7EqvBSyfY7F5pa+35KSYWZ3vGMq7qTPfhmhu4iuNdq+zaxpXrWA3HJU7oe51qoVNR2qAmGpPlaicq7pgZY46EFKs6Og8cnCPsqgLI8G5rxHf2B1YO8N/cY05MgLIHJOxJjVU5Jt13PbkDnFXWSERbAgDxtFEuOVB9BY2TxL+L4tceJPGfVyGyIA+ONkqmYtf8/FR2zuczXIshbjAU40oRIBFQGHJIJmXpfj3oidaVW8YULWvkj1wN5ak8oAC78tAl7QrWc4rEpuTKNdIjTqS6zxXysWijsoygiNJGTrVzvrLGnCZUlF1650g8E8wUDrcFk/DGCXV0fv3vuDmOVOAR5WMmlB8VrkazO0SSGqrXhGlllmlsOmSpBal7nIfqdBKMTZtCFXK5RRkCwr2WsKT3dlCDLTZFOj+tPkGGgpdErn6gsU51e79LFtgx1aQPZYc7k9pijBpKmSLQ/zFAuq+1gBjOOuH8wTd7YTvMtbdMLSUAxe8SXvQfFR5rf7lbq5ULQvj8sKOhDcnSymHZ5s3yZDlMGTmDyQsowyZWKijImMdYqZEzaWnJCkn7fCbVDWAo/nyDCPjDlGblO4ELUWvS6NY4V5cprC4LImB1zZI33dDDFIwyybxkwM8/9brappO8EQuFlBDIv1wI+P+53fCWdqrlkIu5QTS0IogAAYgl5HsTNoqLuB6LSrtlYA3hVniwu87bUJ9RS+WSK+QbkYgEcKSbQQQWIBg3ZRdMkXsHXfm+nbLzCqwESNZH7gLkaNyUgvVGnTOG5z2PIGAAJ6nLvQiCxxppw3pSS+ERm+bVzDusmg8USF7VczaafnIU5Vgl1mAhV5qnB5JQMPL0WTOXl65k/PeKDrAMu3xDPvU+/puJZtc6yI+QL8CupF1U7KF03VPX8NxmwKLTHmSTiUKnt5HZcE5iFoeSjCPJ9Mlw2cpUu4SARQCMqjtYT3aaB7CjFmHAO/zpQlqKKQKPzI3/fS8qt8xsZp5FZMSsK7+f/J6RFs1EazEnCno6sMapECwccG5XW4PfOG0ri0oRYzYsLRNQgWxBVt82OMMGHdxM34Ca2azMn5qzn0IAEW99q/HnBKo0uqyTuQm+/xQr00OKY9BARZU0REUX5XuoTdp2H/Sojzlycoe1mwKESFi3qPMZo1y4lg8+GtYeGzOzY0UnlhjPi4/agDkuK4nP00pMCQyoBbc8Bw3sSGXqbOSj/2Xk24qEbUpDWFWz7mvfALWjxGczu5wNqAa5kW7ujwIoDNp142g3HCXT0CSsIOaem3xG2P1YKXzzb3xnJS2inYaSt6hjDn3evdsVGh5vlPNkLZQqt75cL65PFg/J2qu2KtJpQQuRmrFmCTsnsgOctYTt0o0sSY9lt47/YSuZ3G1cz7zlV5ZRoZSrfWMhHeVnUouxs/Jejqfeq6xPJLKLz6IZad012PjJQj/2sdd0JYxJxzUkoMVmP4JWKS0OqkZ1sVrw9MjWZnP3H9pphOec7rk2L6zJ/VJqfcEbELY+U8OnkkLju8EkmAxKMry52yRhU2IgoIZTGTL8nSfLpSJKMJj/vBVTU6bQ7MQmkJcqbae73gu/bwOj/Bc5vKetC/7izo5W2TmHlMgxNPMWBIe7BwPKrhlb0BjWkaQrXx9DQEZGpCfC16dyJ5vecTsP7ffegmWlxanH7sb79XabWz2+i6wZ1VTjdhSvz48Hj+a1izweHyw2FOIOvLYJKu19oOsvVD4CjcGX3JNvM1KoOn/MEHg63QaXXe5aRqERgxKU7pQtuiVvhDJ3G6gg0uuYfOO3CdtdyqW2q+YOaI93VQ+fhcr5Fklb32t+bjaZZuKnul49HOC4SRjZ69+8PGwULMX9bKKYYQG2aN1utyBuHEAh+hnZOmeTv4q9xlRlfphtiFwWM0QLZw1A2wBI4davYaoafX/TbadILqOBT8Ze9QJoXLGDXgrOM/wrQ4MzAM2qVS8h+cZcrhrBbJ34+JEp4xlC68Dkrd1ULYU0jC5zI9Ng7zfHRpk2Bt3hmxx8lAAy6jnJXYSPG9Cd2cstSmT5sUOMb/g5DPLcOotYXSZkRcXb4AZbhl3+2hg1a2DGg+0NABnXbEL1HtQzmCO/dQlYaQ0RM5NmRvYHOlMsRbsO/RZGaVKeNiWMfXqpxpHqs79WAWZ2UI0/K5eJxWm0va04Jy8QlGcCQDep9OdaM/hMM7DfNDevW4jIWsDDgOvN8E2HEDsUkS6RC/m0Jb/WI9/AsM3vJA0MeBCaMsqE7l5sr6Oeq3VwNal5A7MDYzVxAMJT7Jg4B/cBXm1p1BOTEHd3l7vaBBghmoAeagw9YmcC10qULM63cZlkbQ4erNQAidjP8l9dtxefA09/A+B9lxoReOLRXrL6/4j2JiDBiPwzG4jJu+ZlL2TPov0UlVKiNCm9MpFnWMW2SPCfCSyDAJ0wEl41t8WQLGkQHnkZjm9ZL4Dv8qFt6BnMBWUHnwXQLKakyCSm87RBdN6MDFoPkWUV3lmX8wpgtk9FuOH504NeCJQgtkagdmlGEfNZvOnIwqsRkU/cUm3XyuvJisIDv9uOLFHkxo3KmIgReYOJ4ggDiqMBREnadJKOoajOuLmD4nlms8gZ04fC+kbILesAAyvbzYUgoG39/liZHBxfFYZdbPmtRfUsCe1homVBC04DGbxPmKyrvqw7INxKlNXlY/WquA1O8Vvz3yfsfpR6GV3rr9qITuLkIfxt1W3oyhSvmgCvd1OUxcQ9fwNIxCMax93NmuuLHPLN0FtDN702rnchsaTNqrVPERytA7c3xc77JhaAt3Lhlhbv6eodo+DfIeZjhWIfyzUjalpeYRQRQFHROEVY9SHD1k2v9Bze4Bybh2lLPbitfC0givb9ylu6B+HHdARBX90eiZK12pctHOLO8etLJFjlbtURrI9izjbKJ7gua2loucKVAtEmfk+Mz//BPgMr4Yhv8907WiTHhlNuP/jnXaOu8WaCupU/EQ/Zj/VThwM6gFv2/J3f96zmIWNtPf65yup2Y4kkdNzy7cjEdzk+yxLtKb3GPv3l4OClsiTqHKQVE+PqTDGvZpO35l3ZGa6Rei/T6XoIDHp1soR4YFLiueRsgj3pVF+4QndEJh9A6kp/0bhcXbtJiP58/sX1t6QICnY8kfO8GWaa4AJ42Wy6aD723/+aN97RYsKNSkjbkezClIA6YIXOdF2ZhIQzto0CQbRIHg1UDIsFfnwnbxJZEukripeMnB540Fnn3Kvrj++06Qfl8SBX2g6vIN/3FHhUWVrIppC7NWwE3lswX6iooFMD0GTQdzYb9DjD1jY341071GQe5wwwb26h4HL1F/YKL5VASUYSkZOgXm4SX0+7hGIflLFfcNBmdqLfpJvAPlypRFPZ8npzSm5dv7GrxumLp29a7tV3dUv5xzupjw1F4VmPVczLSjA+29MkYgNww4VSOIaQ+ccJ+H1wMGDUCeW4EYQf+l7cXW3SX/PFdN3lEems+7L4l0ChNyAgSTSZPV6eZMDfaXAIp+Y7wcaI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qFHiboAhnyFYO40OgDW9etHQ3Sy44XTVMcMC1tL7LmNH8lNkbB1Jw9nduKjj94yZw/Me2WqwClzThRPxzPfb7U0Ezc6ymFC3HIdD5tkg+WW9oEick+8eg79QfTstLkDjf+LQpZOqkzUiu94IsCbVXr5OpmnuG2y/lFonp6vSXkY7I9Qlrq6INlq4OY8/f79GtyG69vBipcHf6bM78PGESgxtO49+cRo/A70kPl70xje2NpZOIjYoWDaNFHwN5TcsPiKMFKJ0OfKxnS1LLuRDXZ1pyDDlSiuGe2MYW6FQxOC9BoBd0Do49tYP1jR6YW59BiizqSwHo1uWazVrfLHNVVkHlLkOhxXOCa8VcDWb4bauvqzDvnxlgj5Sy4l8/AIY1Un2biH/hGZBUiTHw8pouPHFJns8BSirYOOsPDIz2//8MISWSWfizLH/LxWPVzB2MFFK49F40xpVVgYxBFKjcZVRNUPODPYJQTvTPXYF8GVMvVGaKYbQ2ZcdPaxYkusILbwCAuViJpVXWBtZbN8F4BfMOre3wFRmE6WNdIZ2RnHAVYF/sjoueUh+lVSM7fdwkYhVkMkleLu8drikyvHRbIn3ecaaXGM126n72I1CwEzcSv8cVlDE3ycKI0+JEb1Zs2g9iyptP64IJzVvlQchYU7mE+zJPxpy8WVIOgofwXHO6gKEnAPgo2NDf3t2ImdHC653ZE4LJ9KK6Qbq3NZgP3YjPGfvqTbl4ydiBy+o9ugNJF+6mskjJTBDk7zHI2OaU1LW13G+uoAfEWqM1OnG75Xh8wcXwqnYJ3TnK6ZMiJw9mcpRxHJMnEWwna5WcBjrESWhA1EiVEw3qAKyBT/pQJCDFlDqSwhevUW2xRx5Hb7WuMOjBy+ZGCR/reQF4Enw88dkWh39kJMUUskX3IAEWhZbSziEsYxs/Qcu5EI28rYozbPVzwi0TZteajXDD/Py36kXAKtnWTElDHbLw0DJOjShLB4UgSILfWy2vogfVg3b+K2/0E/+6WkOB8NxOgY+fxunwsNpHV/4+GPuMr1/JhepGv/B4xuy7ENgBFPwCc4BohoMy44ssU66Ph0TnwM5v/JRboBxdOr5J3DE5ucU5qSws5kg5fY+34ggX/mSeqLuoYZAuhd/IVO6H98sZQAW9gc/KhMi6Gr9J/WoqVoGOgwE92VnnLN141OvovA/9XzvXMtQWG5I96sYy7pRDBcBJKDfNUr6nxt4G6c3ynDA1aplH9UBGTE+5lCKf7Yq7wJr5ykH/SvI3709Tt74IhVcHC/b+/DvkaDPCyz6FxApSAedcrvSLh0O/sudOS8YfkyW2UsbDl3ucjn6vJDT6vblqzp/S8UJmb2bSMWKlTmvZiBVVRrha5Loe0uj+4F6ZhMHRmdi8WtXmpU3Jd2Z/3GVfr1kxIJ6mE6X2TadSlhvtbMTqrkeh9uTK85tyfapWdspXdBmZKf4vub4QxqxwYIXHkjEORt0uKC9RT/iMhUtjG0tq4GRUo0UlFZWGSjLh++Gic/JyxlCFwpMQlSGCeZfTFaza8JADeiazYqSG7w1UEVFCf4Va3Jegn2Do2LjK+pX+5Z+OtThbWI9rNuRdbwuWjHsP5XUxUafLeds2zvyT5k3Z2mA4XTMfmY4ymbteJdu6rSYJoaShfcf4VY0ub84iQSASKROuVwUK0H3UgzapNv6n6QFNCOubNjz+oVilynixO58MFhV9tGldWsncGmqjv8WM+bJONWhpzGCKeN46zu9k99XruYBVGJOo2L31O9vLksG46WU4gKLUbhrbqypM1vdQxSxQ7hjusZmwqCkHqxuvr3p3FFgibyVszP3N5fvHqHyp3Ud2rjI2CQAGDfXidct9q2JQcXRKNjxWylHWbjzygxPkD2AFzzXoZToLieskaKyBOPJcYuXjFeFoZkvvdcUs+6I6YBtOBgG254XAL7M//zEtwbd84qq7j7GRrQJtyqxx93il6/nWj+wBeYx/blm6eonSHH8IPP1ZoV/Bx02R1kvrywIC85elFqL98/KlXP6dZ4EZP4ghQiEzuMGaDqSFkjDjlAu4lD1XYKXU0ZBc7TL6EyIHX4mPR2cCdCzRbNue2N660LAYnrNjMawDUGX2m5TWA0HL9iKWvoSqHP0BpyRcTPPUkQ0XfnG6mYA/+RZDfzLEqxtmN97/I08MIglq2MQLtzjnvkZJfSHjF/MCumRx377nhAc61EJtY1k3EP+Wc+oi3WyeJd66WEzvyuCRAQR8LGrVNJnpgoIQOcDDtRo79sASODHHxgM2bja8sfBK7odIaYleomq0r4qeF1FacePivu7vyp22iYh2fXGXdYF3XNz8xyIc4Q5nbbpb3f32KbJvoOAG31bVZKG1WhtIBBsy/vIip8oTrNSDbUHGndepRTksYGiH9b1ZS3+sh/MhvmpNAOletEmjPM6saoTDtIUiL7LXaDbkEhn1AFUNLfyvW+tZofLNnbiajX2lA7ocQFGAIN1sRachWxkSy1Y8kkkBlUguH6SDYybccJ5VqRMnz6I1kreMlhTyNdRaVerxGpv+ba2QQ8zpj6I17IwFddoVxb9E8yiAqXoBuTHbCA5UuKpV1AD2I4rI3FRtECEDOX0WNJHYvyfps//N8VzhpOw3eMLG47lVawtbSbGe0yjByJVZy+NAlBW0F/PSi9lf9FugC5+myNu1wnpbD27Xl+WrZiSkP6uAwob+7m2M6JrUFmSNObhBBKJi5+921e5xFgka3CfEVQop5At7jdc56Aa3sr9Pry/x3PDxN0RYElJGSRaSU53E7EhtX6muM+1SfUpL42aSi5UhWPyjhioyVv1oBYDw2EB0tuYU+WHskXgs6gP6mnCKWfAHTVX3l5qyYMWlw/IAz8BCiXFheCdxVoe3fRwEfdu0bBzyYrpSkZ+m4VyqYPXEAGNCRQRrbINBO9URG4AM3q6w58L13hY8EQGmgIHBUdNi5AuXnTVLs43Dmx+nJiC5GoQi1paxvUO0I+iVksLxee4H3fpcN5Wi+OH/9zF/+rxpJQv7sPw4qnBcG5UI/V31UDvROTYFNkqXZiaA7WtBSTOfoX0x/eNThsIcFOAbI1dPGZKzlh0mnBBcn0HPX4K21V6hGXSn1FxzebXu9xcNZOLKTKaDDnoGwcRCYMEc2AuuKNjcIkU95XJaVRWweJQam+D6B9cbZi2EdNaVc+9i+CQp4hLriFe1RqSJn9taycS8Qv0dkmiQbMH40djVVGqCxOQSqaEpPR9ANSg0bvfs5RbSwzawEVxl+EK+y0QnzhtYYbbKVwX6fhpoArHrg86bLmH6N+tu8D57V/9PsHXONJtLitrqPUN7vOtTdJjutyBjGxdJApRkJOBjebhXLBEzxzZ9WZQx9EmI8pAEOWijwQQbWCTC6OhiSDTKm4qdNKPeE7qebM97mN/a9wQhG2I8RYFtUV6HAeouqvHr/0YNx5JLNhBinUADTwVi4osK4saIKTFjs60qMHZ8xtwbnzoGRvJs8zan6bkhE4nilodGdcfndrBzo8h23LEuVbVyt8jjMB/ljboMnZQT+Ehw28psjnuVMMSLZeUVbb9V0ROhiygjIOdhazWEr1vlRrEkTbxq2J/tHyF45yBz+Hy/3m7QnvLVZ5WGzaGvx4Yb2Q31JXDL3Nfvf9vS+9Q4AL+OtQ45pjW6ZI7p2khFumPUdL6+n2eQ6eGdRapDJPCsgNBTapxWNgqp5pj36Rl1yeWOEE/aYPdZO6YwHXATUBRLJJ+11W4uxCCrSL8VmT54G1uSevM6jJ674NGII/N30re6w9+dKmeDPh2fGhgWtDm3rZRQbPj7Yo6IbBUgWkSpTqZv5e6cJVa3cZIABKaV/OgR84/R4aR5M0GPO1qRbNYGKZj6WRpovOgLVkzoq6c+UPgz0vaXBr8PISx6I9dHuXdVKaDqgFCXbBjT9NvFYdE1dFnitZ8L21sGrIIqzL+pm1S86X7cn2HjtSHMlPlPiT5ljkBHG5nx2HEgY1ARxdYVxI9xya6NA9rhR+cRO5vFFUrC42Vms1E7b7o4VOwCmQsv0sIUtLpuaTQxX7nWSWB6vSAXHjZJd1+GxYXL5Cc2T9yQqJ9nfZ/2pm2XtniUH/PURTMgHtcI7qY2JXo2S00kR4e9dtzjeeQ4AfFH0kl3m1Iu6AIhEWaJtQWFyBoc+/4JizIL8yo78ppU8hq9s/RE1nJ+FButpb0smMkl8Mk3TaLEdgFAaVTfRXdSSjDI7sgfash/NfBByxXyizMRD6K3UHsEJMae9GajhunJjQPOIZFfuliAdrDt5u9/TJzURQz4L3iDJ2Kbe/ZDoY2cfmdIdSZHHr7iTXGpq2Ui+PMqk1PJCtVCKwyBDwbr2g/I1efqnlNRvy3JmzYCPCNamPRZQ02sieh3Hp8FUrKoEVQvOC7R8HWRTkPAMeXMeDg3hcEPN8KbJ17Vc7miislS0cStXD58ePCaT5ZaSSS564XKeC6//a8WcUxetlezM2EP93B6qq9Mt4sMHITMhD+dIE/QmdTvn/vPR+UPoFKa4+juZFpJAmw519iybL3omNKFAk66/Mjyknp+jQ8PvFbd/5d/l7nw36/W5tHlU8NXA08bPqOQaa0nA7gmvpGTGkEXQDVLCIzQKcJPkF3aO5zpT8upx3s9W5fZVwsbMHYwiESqQOtXqQNhCuutZiZEV2XnBVRV0wCRvwaWut272RKez4XuwDvXBmJXmG4aRFb3cm8v+a091kGxftkMMTfg7gZEei6U7nq18khQD/wV9Z2JtHvP0wQRaDhr8JoyE3EZycrUZuKwGvxl/BjQxiYQj+0hTKRUFvrndDr39NZTCsTQ0kbBxsnwBzMLdTYrJZQNSR0Ajm0lsv4ihCsrra+9BCQDdjpgLq7nZei21CWSH+EV3/NZk/2QwzJ6nJcsQTorateIPtbssuMh5Yrag+f7czsZDK6tptUcbryfsCHNPNGQYT+tT8P7hRegd9cnWnys1ZC+DS6ZqIBRLlMnclZ3rGJdx0AwIa9fYtmkGwRS+ff9BGFSGCwVJp3u1Q9wwdp502o5rCBq5K5f39AWz29K6J5GIoS/RuzdKnrY2LQKkjo1tfB0FJfzKScSjz6MTdDrZEeFHxV9rj5ufWNpdB+oEP3hu9a1Lyk+Q9YFhcuzY7S9k27NvTlOb5mFkxhahf1hKkvb7IrYP3cLpCnmn5vbORwNMs/ZZqMh/NOFpzNIDxrAnV0h584hK0lt1zesKHjaPVCc75Ze281tOtBYYqgUVYp6f17orjJ3WEylXEtW0/viarwvxSf6Vj43/C6aUPOY7PXWgFsBtL2d1bJhVbF3pcwYuuHGOmkajuqLAS1KVeHuhS7qEEy5jd38ekDDWn+EqMOB9a3+4ZRYgf+3eBebUD3nyWojyUGBzPHV2zmxBatlopYku1qVdX10/n7qMZdkf6G3Cc97RqenkwkzEFvOPejoAs/S22IsTTFf2UFdMxdDeinIZ0uTDjWndiX+8tBJUaIYtUVI7iGGwpHcSE1IftrgO7d+w2XHdV47Rn3MkG7UVd2GDFpoMd0irUBem75Or8I5+WXntxO1/JUtUaGTV5r6NHnnExrFmLkP9Obs19TfmOoJz+UbWs2j+mW10yfkS3u76Ygp02/eDIACB9VhNrRK2JOP4T6oFp1aOdeUH3zGKLMEobMaMjnZnMSNHXKY913dBQNXa1ge1kIXRhWefb3Yqr0cZqBMgWOa7tAy4Q1nHO2h7e1BP2zKc49ClVsFr+vi/tGnW/NQFlG/468ooWLngxV1hOQU5/4yMC/VQ/4IG4ZeGOvdUZNQjOQr+W62qLj9Bvcl/qBRzKNPqGgGgpS4Bz3jmBv47G0lFg2kbgJvq2UXw6msjqzq//fIGoAfxXZroOG9tkBCCO8C+OA2UdKAZLnKN6Qq2RLiNfgiteWH5x8y6GJk8iNRslbMMMObdcvHQLU685pTCLU3jd5zUbcyHVF1PpYdtKbYdKMClVeNxMD1rJdW6t/YmNyHe1sAoK7FdIFRSHWO78Ewaat36taJ7itNNbcK0dD1tcaDJk8y1aH+GotnlsBO2zcBVVGT3swYXhvUjQTu23n8wYi1RDP8pGyimzRbXRzMKSzjVeUFK2/Be/lNcl+u69XfyuneZik87VUA4nsUCr0VFGiGP45LyWbFKgcrSrttn61KTVAYroWM0odHRZVP84IFmA9mSCVqorJNfagsRmLmtfLyGHgpZFGTKMLD+UkkIOpVF3ldojNRSxJEMM16xPLtroKbKb9jMqYXcAPuF7jQHB89YSaYdVKh3fZRdX6iD3qRQSoMLtqGaNi6QVTlKot/KbN37wY9EOsihFpdAFhWQEyX48k68MfnWbYuhX0owgzFn90su6Mmc7enU2I1+FIIDFHzuAMrc8X88mP7oc6EZ80Bq5jpI9miOcMy0IS+DFinHkOWNdKRX9zZ7t3nB6k7+UHeutbIvbCEZ9wusjkvu3+bIUm4mNxBuLdmpOpBZgEXQdF/Nu7C/gMLeCVqIzLaZiPQCeErcRNPpcvHgkSmhiirz9Yy+/y2JXfzX4A20neCLUf53x92iyeVN4H8GTuddN7gTFnuF06tz7yWSrRykzAzUW5mtgSGNp6ugEm4LaUZx5H2501hz18pA4RbKWxKNtpmyE2LRjzkk2EFzISNZGpXYIDU0UwQUZo4jh4wik1ur+KcPTWj+l4PWetEW5AXdvm9rm14htGZasARavG6mTjglStBkex6vh62bTYhdFn/KxVVwMOUfPQAvTRtT32DJCn/pBMXRXxmNyELxWGpVdqh2Rl/CqKJW7huiSAZvUErrJvbL5+hrAhb5oLrbjSF8c/DFLIaUPGwaWHTYiz/wABAUGFz3k06omqhpLbD0/fuzb3+KHmd1dB/0UKJFKAE2H9D6AF7lfGeiIiDP4Wufh3qtf/gV6B/QA/jErTaAED9S2BqeomHnMgcdvuglshIEjku/6Axi3+GhPfmAhV1ofOe56o9NZmoMmoCNvPn7DelXirob4GE7c4DgftMsD0R35wH+dlHErUl/nbFhlzwk/gv/JTPTZgyjRaH1WZExQfeNkFCQrO1fevi0fzoiKilUD54rM4EugQBsVJoV551+yb/KCXXUDzQIJ+f07rH23IsvwyBvfKS53qKHDT5NhBpPt3AHgslONpxH0Xb3wc3nZviwudPtX8abZU0pBDqHC8utIwQUfyIgeZNrl5Omda7SWRIgpH/BlyH1Fo5WJdaL2HLxZWNQnxal+u9Mhdvg86Wz+RvbgofLF5zdtVW28DiZG6bLQpA9eIyHXCH3yiv9s5QvCl0kog8Kz7je9XsBDkRj03JY11ih/hy46ny9NLkry1bRVrDYX1QVLG6ffr1rE4gOg7sskVoE02QftZRC5yALoWibvaltRHoLl2TLn2MHnjs0dU9XVxohk6ilcekBkihzYVl3H5UxiUUp6yR2Mj/AZZtooPK2/tvXogIkGMNUrJ1B6ugd8G3l/RFjtaf4wKaM/5S2a6z0qKn8ksSWiJIdynGkiiVNjSyEr2T+JBtlDALFBryrswCDNVhX5pMTCPNw/+Fcxk5VOechb1bVaSsymuvQtQyEAuuEzNyGIumEohxqbcm4xbyNLJas5kZIINsETp4BerJE5N1dpT48oL+PgvmjdI13LY8JqnmTDDpVYIcmEOcH+RrDBrCKhg9qjF80kQTHmG1C2pNKdeftzHJzuhJhFCjRh2RJeglIyj9TpzZ8NCVp7zHjZ9dBIe3hrSo34Uw2JaOhTJ0HtFGJEAr+tk4NS0DqkTe3XNMCpTvu7jTOsApP/K02/CP4tMp1lHwr9GaUInJry1Y62SJhKaNK2cMMpTf6BB7uv6zL5O1NnCjyL98K/7jf/w0EQUr+rMByjnOiFK2I95ymVVebS8mH4YXJyLFRXfnDX1btcyJTibgZA9rmotpNbrnMKNTh1antjpwS3rBlGlnNKMH7MxWrDlFFUU+TpmJLIyQeQAVP7Rx9KvGLihxOeriQbqXRRCn547PNlSHzH+EUjBlQMoCEfKCNEvf4lVlBY73rIfkzkEoNrZxD1+myliM0CDtBXEw57UKfMSblB1y5j7U/SrpGeltWkqbn2Cm03gsmahM2s/p1YQ4a+OoRVDcKThykiA16hLQQpVPaOKVKxUauUukGJDITz3rLsuVoe8YFbA5CG2hg6iAVABoOztb0ZFJqPfrdeyTNWRb5Y6GXOxJMIHFzAMXE3cUx8SmeJ4WAq77yKL+bMdu17Xf4FBK8IWydXN/7yiVEg9rFN9myQt/Q0CeysrjlNjlZ6h9VcgTh/6wHI3sTLOHDoZsT02E3ovMBM6xA2Jk/UF1/Rr82Ape/BwZdHZFZdPNQhCaGMktT/fB2ShbpAMsSbOKX1eLxqzuv5i6EGjBxdz5gzUK/QG7JR/Aoxhe43y5CL1oMqoBSMgXcod893rv6GT6UpESb45cq657IIeRo8UQik7Z7Ze//1kQOVQAj3dWX8ioOGfNaPlYOhMd0x7etluBraueMEOQvsehWTy6E3n5n7wLCJejs9phu+srVM31Tti9MY7u4gpFJlC5/cLWVOimzBWmW5oAQmKzPEYhuln955Mk044hIcJQvXyAIaA02eB21wHLCtNf1DsYx0vamHERPW+JJrNPBN+CBXBxRWceUBKZT+1fxcP8lWexNHf9ln46jtlv3nc7/YwUEUz2AWxfK6AUdsmSWvineGEwNWO8qwBuXVNAsDcv9AS2gFujzuzU0QFMho5ENUw3NJiZU3EF/4Mr8k0I8dWniuwXIMVKmElEyJJXIkMJ9Z0w5EOOVeZqTrPGp22jOsKzu/eqT8ltKf9TW8eiIXKGoKPG1lN7NkhnqohIwLX9eejybryLhgSMaQHM3z2UYALixpAciKc3P0v+DsKf8OHuMKOQ2U6nmYvam5V/GeDiXL6Jdv6g0e+EwFz2gFy15EU+9bOE7l7vGt/kn4C8PPhmMlY38CxbgA7JhTt3SbAfYnhGaI4KQ4upY86PnHspGpuHOTKo3rcl2QSBBBeCTlzrBbj6r5XrIDacVlIyDOle+VwUCN7+2wSuhuVZAPG/8biYh/BJ1+E+iYf6tK/xxyXUMHHASsQWMWaW/IA5kmws4b+piN94DpBza1wVrRbKxKMvzkt8uzNDH+jlhfqLZOB3wW6oy5PYwLmSgT+eDS6oPN7H20QcOnpky/9wzTJMTNfEkCB6BnoZ6KlY2u7+/MJ6TkpdEKShSFsUmPhAfRUqzvme/6SAHP59oICi/blmCzQtKCd9p8R5sGj4zjoMFL3UUHe0X50zyOL52fLW9HdYrMxAu9pIvPYI1rG0HiynFhCnbXAW52zZt+s62C7f3JH/3aUrlHCoAxNMDjKzhEUmcOmgybFmvkQGpLvtoeItF+uD04qX7BoxX8KEYt9lFgSe32U7r1vdDW5vmI3nBd1N2EwwuN8idhNrRsilbgEcGCJIBpC1/mXJfu0UXtCGGBLMhmqMcvVaw+EHQKUgyRU5SLYdknjoLghAB77laktodhh5Fo41kBcMlC2A+l3osTJOgO/rfWXXS3jhcpMVQf8D2BvuTqHqHvQhOFiPGAXeuSgFGs8Oz4KMdSPcpO1Ydh8+TAK4PXh8c11PFpnHD8+p0NVd4JYINvyFbrfz8reWSTyPAXGo9Eu+1HVI6DxfBX+LQLvvDDzvlQ4y99Q1qe9fmENUELA6ciqolN+TDnBD7/sMAeKRY7Qx+67hH5Zets2qwbisMGIzBNE3f6tw+cIPejTVRUwv8auM7SGDKMfc9Z6UkISN2sn5QnS+SU7dTbUKcJMttCyMCsFEE+W3A9fkebn8yis+8+3iejBIzMF6t7Qv6XhaB385OuhnT2cEN5NXqWmfRmPxvJIQ3q3CZF26ANISE6UpCyuftXOuZuHFKgycTjdPkheWQPkm7YnVYJw9NQMze7hzMQEnG6LIfoPyAB1SSL1um/QTSvdGTg2MJGa9EpChfNEjUIN/TqjOI1FgU3ltHtoHoSu8K8vbJqXWwSHp3jmLbTIGmdmVpAllsaneBOBW82yYtttvaxsQzteeBSjYHbBzj7ElrEFitBNlq5GpuJNBtBezQkkAW37kxdkytl5MKU7t2j55auC09qfKlD+Dro10E8o7b8gMW5aVL7WL28R60b9DK0Nq6AvlOcMiD+xwGkvZzasCd/ilFZo8pJLubnFdKt+Wf1MXDTC8+cDN/Us6CupcRq5xfYsbtbpwvY0HI7LunzbGx04aV0LX74u8TzIgLPmRm2bisgeQur1f6gS4AMDTITDpLvPwzugNdfsob96O6tEn7m4lT7wahq+WJyoKzQK++WTvbZvsztznJ2k+iwLQ6MzzOuNVLLQUc7cZTctvv34wJYTa/br5GyprIf/DjxlpVmh6qDeGHQ4818OTydQRKXzHiRhxf0Qc0NJVmKdK4p7XIngSzVKGrEmXzE0NAFGE66gSufRqQPuGc0HaBLVwUUEJywJ654p0TTIvjBm1oFvr9qf/ms03F34tqchmauVFU7HjIZh9tPjztL3qyv7EDpuoPjWUj78Te0a2J8GDFfYSDM2URQdRgzJJ8nb9T+tpVpXTHy5LDdJ/uRcOe9t7TmmBMDZMecVhYdUTDFb5VVnass6BbvuQkSclCPq+O0mmoKMnAwC0u2C50Z4cHKz6hkdeppBOxdLsG27IZEWw9Cdn3JDGkvX5rPIhTzHrXyIAxlx/GqiMXThesNsnTjNj7e6AqyMfr22HNjSuQHGHqqimRmRl8D1kiiy+fntjYYgokqst7RLjnGMEVvSdkr/rzXQRY19xz1snrluLtLR4i9sd5GLlxW1fC7ym1jiG/wz92edIWbFi9LgBh7U/dRdv2XKTykrCbFYhVzQFzaDSGM17sqv+5lAJ1IUs3fVDfShi1kdpCHqhMNYF1MSlf86M+h7LFMpUcHiNb+9HNs3DhJk+HPGqTLu4heJVlFdAYaBXgZDVUphiM9/wPi43zkF4FOilnvBeyJB9p0hnJKUW7Je+QzEE8DwifEkl+NpYvmWl5lcGTxBemah+igeE+ssAtttRAE7VBZoOlpbY7YSLQ9gR6a++smZnZGCRLlttT+odLXGiMlx4uGelH/PpR52sVOMIzTXHsOFZdHplbT/S6b4JCIcJ6cKJZ9+bbX14TtTQ/Dbw4J2O7NLYFxnTl5XUu2JI3MlI8s/ag6DIQhli5eKAQuhDcCyvFFgWVhv7UXxbbeBrNRVW1T9XkmpkRMdEO5E40BAq4+3Z0AzZ1PYQT/vJ+kg2vKfuZag0nYkDQXngBgF0xxcF3BBDchq22lVM/qh965OwAvsAqf0ajOQ/kakB0KCxblahLltOyJrG8scwSKPHaMqveX7lajR5WlHRizw3VRn+JvDtXdGmd4ssOkPmCAlE/dqrOSQ96lGToARW5wjF7Xspp5w/qpFZCABhcGWwPvcTMHJMlcYN8S5a1Cq98q1eGGQ5VZWsjRCQyEnTMMoDs9L6ULNfp7KH2hqCF0CTR4WNzrES28OgobiG8/t1OPRSKEibrYayBQkv/heyuhFjhgva9VMcGnX8s/rwrwKh6iLo6j5BBKPpbSYwkw1zQD+CyBzdEHQeDlUYR6/+MCxn+1XWiP+4V+q+PgDML7v/XdGgV+st+Hi624Mke66/3CKLfkcZs5BJ6tKqXuQ37I1EFSjRhd4dQKVnW+9Lbf1n260kDW7mMHh4b+32v3XrxPsVBjbIGnCTpHzbqXi7V66+9egTw7iZo5TFIkN1d5UxngcnRvUWd7dDOEZq+Yj0DyWhZxiRjV8QAWsO8gzPLzDaJD3nzeB9490+GM40U43MaWEAeWe5xinhAJRCGVO5dq2kHnHsF6izeitAAymEiJg825Mwsv/93tR5DY2BQ22EegaZgHEwZHT/eJH6vY7sxNgPA+n21phiz3rVR0prWEkUcuZX6hGbaz6PQ99oKb64R9T2mp7I8pyXegbWQYAl/UH/CynEQ5Jk7DRB66arYkinOc21eCXTs7NSQDfWHrFljkdOQvlUbmdHDN8qzFmnlpJCz+wCmJXPYTFqP/AA9TgSbzHVb+S8fJV/S4aDaEhB65/KSVaOqr0zk4p6aJ5YBJtEkN8bbDVnMN7YrY4cdzH7ubc4gSys5pFutpd1Bd9Nm6e29tq+ZaTUq6/QUYOUurb1tXLWpkwRqhSeYKFmDStKzSb+nXh4Dqd1czLPnmnoMJFhN9zbsmW4afU0ACEhKieAZYpIK5REsK2Mk6vhle6jdn0QteGfTtRZo18G6D0lPJzU+uo5pcSPH8mpgRVejIibut8IoykLUixJPRiTqfVPdjB5XIxhxRU9awC8JT7o5Logjum7ehovOONNj2Ues2f37eFu8tD8PkDrk3vCq4tpZodE4DMNxXyBR83fQ8oRPlrCqCbo3a7sYqreBE3IXcKvd3zMC9R+41G1IF0AuQYfVhLZuAe+2bBR2Zu2Vre0USyiWsO/k64GKcmjKXavLhhaQZnxYhnX9aaKrFy9SYlKaJizaUtTvYqswnMyqrwfSwXM73rtQUqtBVwCWCP6uVrurIZmhbmJR7phZRz/I8K+j7SX+1pEvP0A4riULR3oPWxSZQyC6bPQX3ghcIJODijhC+jsg25xYpFV6Z0X61YMWokAI7c+8uOvs5IXjKjEYZmKj72/E0G4865/PvLrEL3S7w6tAdu8fjFsDtnnuPh2YiuaANmCiqmM5g3oDr2YCp+hPRxhDwbwgwZhHnf7kxUrzP+oKG82lHstqRgu3Rr3sSDqNk5JKwVHn9jfJAthixlrVyursEKzse98olhtaV38/7JrNDvnxCxpzvGjwfr4XYTkPW+ZcbbzxT/ek0fiTYich9xI3BW4OjEivWKmXKWrIGasWXp8qCdZnSekeVQ0nUJ215zzsOm7f5kbQiaLcrkdqos3kreLDm79Qx1Lw+Y7HL03JL2IbKNMRw8KGRR5cMn+1/G756M3GV5401CWlvgfoE0zV7mpZafLpISPCOBwYMdm/VFqEMo2AbrC0l/GqWJzEavR/jMwuIS+JyoCHQ/rMluwOj0BQEnC7Lz4yKH+at78ox2baEixctff9CKjp3oSsM2p1MbBisUtsTyni/xNt6ynpaayxzsAK8JTwcsBkptTCe7+JonVQWm0L06crFNTLGxuAqcZDentUThcyMcTaovUNG/TAOZRzuAJ7AYLjtIRE2r9odsFxjzfYEq4DeyRnRUDCsu6E3/XIHGcaPav1OnhuAF0RrYPKmLmsTzhhQ8NZSpSIWF+aUL8I8LnjE0VrmTJ2HgJJn7GL/JgmFHMrHSdNvXmpkXh5FrEPyCh8W8jjwJS6EmyR0je7kvIJ4zJ2fZoNxZ1B0lYzRrCYlLRn+FSPs1PQJwoCt0YsvPGHRFA+nEkC+DvkHuZxa4iITdn4P6vYFWAFEK+NJB0B+AZpXVVoeF1YPmxmlFjIp738DU7KAswvfHZc3GsTejJw8tyFwtY6YNMojMDPdgRKQfpi9OniO1ngDTram9m65ud04fiJ+thMXgF2/JtybmdAVMbNrbcU9UpU1Ye6aoxXd1AEE9DIV3Ce7OpJxsNa0MNyWBefwfA36T745ceHseWBtk/Wr0/W4xKxLJq5kaWcoLCKvZS0cMN6bHekpe5hWNqDYPKQx5Fk2KXSpv+HQX/HMJwxckwtLK25u5lmfN5KDwS9ir4lw3B7JixTIyD1ItEik9osLZeXGH4VD1jHI7jsJkJkaz4jDS/RgmDK+uSPGraRlKo+RtBWxAVZ2AfoNjCUTP16aAhhKxfVFahGxQW70YOdZAFsmjyFnfPb7JR2z3CasJ0XOuV+i+uVFCvzzygn+jkPEdsjkyRm5aBhYO3n7iiwiWxwMoJycjbDqUHGLToIF13ONRThRYUeFOoK9QFyf1HRzKp2GNbPm+t3K8gZYZyIWWyRStvUe5TaQN9Bo7BFXkW6E0QcjdiRtWMbHNuPhyn6SOxL/IS0cEkVk7BluIshImcNLssdmWeO1O4dZzG1kwGflEXp9YAOg6OAkA9CEg5ShFxwOyrPVA8s4ByqsAmIoOtyEiyBO0spEdtNS7Yh9yvMhpR+QSxGO5QwwqCrbS8zhywFqEloEeSuy8IdrSbNskF65y9OFOp68iYFte+Y4uDbS4bGatznfnANlQQkWVobqk+qZe3nsjVuAGD87SBUptFtiDzQwvKxjq0rk86X8u97DvTfTDsoeRTjzsiUQqtV+F4o1LZoH6PQDvXIkmYnOgIOuD0D7DNWNe8tA/gSpyVQjPZCGHP2Jbs9A7lul4pxigq25IMKBj3K0QRborD8plmOe5Jm8H1R/HfvneVh93zOqSqf4YEa4PEPD7w6MDrbKOdEQlb7KxH54bN3q9EDxM929XSrdKXhwVQsDEEHh24zNq+/aU20lupPfPyauNgRFKfcLRvWU7onf5w5NG+Fpp9ozmCtHQTsu0RvJTU2wJGitcP6PYLBXVJh5ATb4ELHbbPGeCApbQ40UL+DQVVoffCNgAxoI+rF8ndO0Jt5Eo5VA64id5vxcBBbWhaU13guEsCuYTGVXo8fUcFlehPPm+3sIB74CsyjOj0y4zssO/OFsHRyu9ewTdaiMCSJj4bL3iz1EQd4Mv8rZOgYUvJmbBdETUaY8l793KI5uTXx803Ka9P4S90Cii7ObubtkNgiOlfYX0KyiOHlAVlU+nEc0/skGR+M5y5D8sqEXLpH+1HlOh9T8edN1IxBaQzzPYuh+iFG7gdpbTCndJqjb5NqpGVkq8xEC49y9xqf/a2vwaw8bWyumvOZ6XjQbflh1zbkMFeucQbeHAo6OmkFziEqtK+rbPgmJ23aLCIlPXPoEz369mDAXwYN5xVlRW4x3z5EZ+16qI8Fol3DchvXtAQ1YntLv0BcHCQvnG26VT60oGLV7a7I3sY0iz+JwIIbeBKOmhWSbbCg1NGmpez3d0tTYIUIGvhBB1h9JTyQcBHQMiWuhm7Ipsb1OsoYcl4qLxR1wDL5zeAkbIzl5mCeQ4AfE/bUgwjjLbwhH9ADr+pxIvyhnc6JBSMyoM+NdviSi6SPuyaSu+Yp/GkkNgLYwUTmeqBrmKSKAF7Dy68ainTtE9eRPwS1f6Itu6NhYzKORCRVyCX4YVYrx3XQbmY7GXXfbgUv0C8bQeHPiquEU+PIoHs3xpeff19McSPaVw75pOpFpmfVxskn7YrTZ8btAZg62ONP/BmqzepwP5y9lOY95lYfMYGTqFVRvE/zDgojaTDZ6NDxnXgAjhbvQSytE3NZ618gBys/xPeB1DRvsatTNp8c499HTysuE7cqEmC0r9ME0vYlYcpCDzP927wSE1blh4PHBjxPb/ffsa4L8TvqWQB7MvceHcFgb4ivzxOPMv+ZRxdicNv5qll/oqKg2b04Xetd4ZM4GdJMgPynwsyvazm1/YqxDh565KQ3564FUZ6aCZq31KyrPMOxRsFag0iju9J2GCpN/wRtA9xOrwl0rArDO98XjsdG3H3qbeQipRDTAvTJ862/BsHsVvbq5yIG5r+uudOLw3DutUL0epMIbbO//PTVDeluSRUBSprnkaq7H0uHaOPYRmcFWT52CZufxjAoYitnUx5iq2lci41aLdjW89BGavD6Vbov177RsM+bKYgseAbqg9YLjIkY8IMKEXO82dlDlF7cj+ir94C21KovuO3mFAMJ7yfSZA0qNTFxoaW5LT1P9gStrD3GAZ/gvYbNeeefpf7uSxCLOqUvbCUdnB0WBiJElvN/r5k/IZ+sMgINek9V5FyYIPL31GWL6qZvp1w7JfzYZ5pZRjKIFW2N79J+tyvC4DW2kJ42FBxh+oCWXuIJZem6GjpOu17w1XiQZbOQblVXdcFwU8ZCqA52UevOxVxhV3xh6VtKa1LsOuBA2oa2RuK5WQBg2Rs/omoEFWzjGo0i09vXRK4uQeCi+BGI3qV2LD9ip1TZbmqMF19vjTUVtDwjikRlaK6rMCDGdFfjjQEg27Jze0EtFs+CvWjBCLwV2mOn5lRi95GU7Gkq9KkM3RaIJzYVTVuvVRO2I3eMlRnmF9WBmvHfrKbLgaXcudhcD8sLeKJFRrT6/RwZ/qZvF613zAHNoGRh6Z4eXAUk076QBUSyS+xO4zIhRsG7iTPXF3kDobLT12dnJm1BZoRU9r6hWKTBDd+EIS8JP2HqWis7IvLOULd7E+k5Cotzm1wMfZ2f/BYVgXf46WjCCXXa6VWoo7gI7ah0sFAqpqayMGSE1DFDklikLu61CBAbArzRubgXEwF3fhn/++QRm6Q+ENtZXBXwSHwOxqw5ehNBEi61GnPgpjD326IY32+js9U9NzcEQx47BKRiCz5OX3bIykWUHrTys+J4jOvrwoMkqAkwpe6StbWEy+X+z6Rw1zIysSD7x2OIFGBNv0PPLccEjAv/jzyeP2bpCkrInEV9u8qhUxRx9xdixrAxjb9h0M3AiIifPcjJVA2Z0KwFXs+kedQjWt0D9DL2BnCU4/CE4nEuKxjTFqM0dSeoruc8Sfg3oi5XQetwu+oITRxDN4Q4rM4mRPIyXf1xRPlmt1IPCFWcJctfh6/4LJzzFbOKRxY0DCofXJ+eQ0xex8aS8AtdzKg76XLRR3vhtYG+JJPbJlCJjYMFVylTt8G0khFV9qVxOS5sbFoX2siCldNPVvqgj6yOB6MPuukIMoP4C4vqkIOk/Dr20ARkeAsINL3dzQNq6AP9JpkS6QAG+RBlYpb+VWafobxNexzsLAmDo8HesPPHcPn0b4CIiMXLn1H/YM+cUUvGEqmx9Ub/UahixEJDIXd7HclfxupK5Tfam77YgI+DLU8sl53YmFnKkK0Gu06Pc+kZd0mNY5kBVZNdb4vItY27q2dXBODU11aAprv3XU3KmARIRsaMBXBZ3EamKdBkOOndmndcyk9z0yj8buPiF/hfOYUQsweU1k6a2J+sXsTpeS17KiNPHKm6QltUkkpiq1TWgpLBVX+34WdJZRkmVx38kSMlHmXFZ7gV4T3amhqscyyTg4Avbfk+gW1vuK1L8ESFAykACGKi7xcwWq3DxpFrXRvjVh4vojvXkNQBKFUcBga1pjUSk8cu7n7xa/A7EDTx6pp6D+HSjthVxfXKDEZoclkRuYK4ZvEFtLmKSonNsZa+4hlhioTspfF4GyqNWqFoDIJhRIXlkODsQsAVYpcoiBTWdIRiCkx/D1lWA2wxdjU6r0+hMvR4o7ABkzPobErPpX0SY/WhGnJC+EyOfwTOkNIn616zlVY9KfJEQeoEwtJbHrEWJUiltMIvyIQCabAZXui+vX48AX93jnUSs0DMDExou+Nn7KrZuxNDnLlFZTMFHrRZ9zYJ7egJIL4gnlx4o0tBohUL8h2i5KwffizAZYH52VyRwDrrFlx43xXXKcbT5AE9fBuzJ33m+cZtzFllyDDpi0zaxSkIsvqeiPIj6rmmkG6i/SGFYF/NkECFEuD36kI8fPK+Y96A5sO99qSJYguxHGBm8poqXsap4qrMFKvsVUtggX2hqD7yeWFJvqeLW4xZ5/r4BEpb9BCzMt8wol9vY2Hq3/tvGCbDImHcbaO7/Zcq/MiRrSPT0ukTc2bNjUJb6BAmfXGhwe/RlKg1DevOk6f7El7wilGCk1RJRDA0QpqyEANimQCFm/VSW9zhGUIi/3CkBZFRuWk2/F0JMPTtgiLKHloFXJytRbujqK1S2Nwdrru2HpKtWV5+7BRO87DSEjm1rRyxLHPLbAad13jQwjEmNXQ03VHGSb3mb+Hjjp5DpDKDyyu/+0Eb5K95JNx1II7UfxwNjgPd2LQES2NPcgkDQapmU2j4VeY3+qI8voWG4EjWOqgt0OPlPimwEs+w//MtGPA/axXpEqlEF69MgBzaY3Wl17yv1g0tohTTcyQE0XUuYfIbBG7N90IHeQL9oYjPcQiggSQyTCofhm4y+2VtJ5miftV2hrmFMC+iCREwbq9m8zgQEdNVApHSGiAvkG47WMjaCCQcR6IAmf7kepsfFoZ00oW3iMLPwvmIjK8hdXX0fq2raXUnx45FbZ+W1mLr/vwTPquk1/LmU2W7i2SdumlrUmRFHUt6NOK0vzCt8SitZgNhamdoegYs5L8lJ6cUTsgrjCQ4HCX8hwxwqg8O6HTHCMaM+nn1Rvw8/JFwK/3qEl446fSBzM7gOSAkDD1wzvO+CZMor/B4XJ1eD6t5/4NBg+qr3Dbm9NfNKKtS8iCs1fc5Rn9Pz/ZB5tC7IQL//CnFozEPyb2jXXAnq7upFTaCADHHOceBO+0z06LBiFadAaFCMHid3A2ZpVqZ/OLDpMp5I8DMpBxQV7KshhYDiSelnLXuBFx2K59yXfH4/e+NFOmHqONpvC1FO5NqPg2kIcBrOcevpouCV2aIg29A/2FutY0kdCtcxGdaXxcHE7i6sQGaW6AXqKR0b5D4xvG9gohS7jRf/wgOPIH6jZ9lcXtFA7nAC7kY4oINTOQj85Qjl/dHWH1Io2gQWoFtAzvHeToK7e88JrAoXX1Od4CrAVE5nzWcXG3cSd8GVRMBhzdOP9e1CUaRihr9eT5fwisghHpKii/VoaGtkXyHMCWR9SMm2/bO6GCdcvf3vF2T/mTbZzAbKRxsgqrm0pbOtvmF5pNqWHrcS7+2fI88WWy+hYReC1onwyMlw3EUPoCvXPxloNRcqcKVOU3SXRC7yfcJdRMfCh8pXL+XrVcIeM/VUHwIkq/THT5bqJi0g1IWuTntdtg7Rblnubg6f8m84H/gD+2r5WW5C9g+cW3pYjY/N6yhr97EqMuzk1wJaCxSiRXQkpyvgVWBpoEDkaFV028abi9ndpDUhZwn0WbZjdnoNEgvdPIcRpshPGRuyYnXj3rTZTTYAZYVD/d34y9uGxzZ9wk94QEtBaWKayeThIz8EzYa/Jm7lTRt6/n2NU1hQmVLzdJkoWueBwJNtBnV3uVX0npqEJ+1J/cQqflkyM//o+pFMaaaCepTJ59qMDsPHp9jIvzeRAuG3CkVnllKJvsMpErztgXfkTiPL1vvBgHuvAxRhtnNlU6XU1QickVzI8SPw8Df5zDn/K8SyheZuYp3P39NHU1vS0iN/5lWa8C+n0oH3j+ZF8LMOQUn7UkAP0Se4C+4QFDEfnIkwzq3W9LjfFiSdDdax+ysjZyphhBuCyBHNAhIbCh1uIobeoLLUDJch/b8wpcVdnco1FJY6xpfpnR3Ysz1FH7654ZV3/eZJYNol3W1sc9sUZ/f2WMvQ4DsFLXdptdLfC8gHwYWyOFFhgFuwBuSqXyBkhMq4uzpYl0v8cyLy6Eb6SQZNgL3zUJm19pVx9SvFDUnKgB2qBd7kOEnoENZpvQS+gMCmRiqbM2JORvdpYmCjOyPsIiOH9Z/iG/uBkK1R9n/w2cZqwu7X8/dNSofMz0+Xu4M3u+y+SC7Ig9PH+OsJNGykl/wxtljgRyqIfXpey1+Wt7Rn8fdfqaJF+QZN/N0CeYMGDulY0o9hmhMe6J17Rycb6sETq1r11VwUxb/90fAox+3cQnZ9WHxLL3PxX/1WlXTegyoxULJKdGq6PWDiUTLAAGw2UIiJeq9nzGZQa2MsvwlDykbH8Aezry5K7sv/L0YRFeZKA9emdSdHLVCdBxiI4Ba1Lo7N49xRqba06atVKvkxjHjmo5zQ1R0GwRdPJBtAJYmUdKkKk8Ht8UEqWm9l/uw0wft27I0jFCa8gSDrAHDR4qHOKOzrJ99K0vfllsJ8B48h01fHnfONYJ4Hivj6hOzXsU/iELlW/loW2Lq0BwU0b8wPsn522wsaovPCd1dqkxRViJCjQZkZ76S23tl4zxeHfnIErKzPNPnh3rQumMZyUfNrw56godXR3LZ351hp+Pee9kOZuxMcNVkm6Zluaex4ooA9A5Vd9P2VnIIBB9LM42R5UfvMrCp5HHExQsXIDjTinNvo1GOrRioZ5LmBPcP9gD7E/P+l07gV9L98UduOojvwyCcC447bRi4YGhPdTTbeLU2v1C89syjSjI/Nl1D/++4R7MlkS3slzy01weoikBMPCeKtiP8+8Rlfw/YYyxpI2gc3/4eaNodt9ALHC8eRfjT3pclTjpjthWJ4XtMJnKFiKa2VfHfOScohK6WQILyOYZvyLGO35cSrKgWRCSqWYb2HJ5A+7jftqdjakL2xo59/5rg98A8ZJKk134z/lb8ZZYnKSqQk1Ckk85YGw6kBOY0dh6b3lJuKFY1zRHWCqsHOKIj414+n1WO3cRcoh2xoAXsYKNVMDp+Kc+ZO3+rW0CgFkkaeseSFsYSFZQA/yQngS8nei7u3Maugf5XndRsOMjXZ7xdZiyet6xsecxNK/JAboXm9LGiRsmQdRjHs4IUSU0pe8KA88z7xBHOyayWvCBwa0MfJ98LgLYhHFBiduEUtsDhaiLHc2wDw8QprnrhlagZx9fluB1oTWbDR4XxJxaJ2AL5fNv/gPijPXGe8DD0qBONNWR7ffYwN6ehR4Ef3bWKs9AuQOnM592flfnqC9A9jgrcPSA2fToDbCKdi5s+UWVoRJiLF+poprGTb3vkbSgsnQQgvP1VJ0ddg7T9k6HcllTTA1tuRARwIaZMxbz+IFuTpxmvT1KC+bQw2igIukhim6URCEpv19tmB7JhztC9b+UUwvmDNArJCM94v+GzLTLSUOj8rQMDDcDXb3qLEpt8yR7pENoV0FiJ81ZBPSsvTeAOUYRZUOmD1lTPGuKiYp+B21gRQGuhTYXLzO5t+K1yTG1JKTo8ywVO6CXk8CcPEOTVpsXta4o4fy2COmvmov82rAPSTgbpVtlhxHoXOPgJ5lZgZ5uuTu9dTkKyU7MKl5f3BqCg1rcdKOIPx9Gds0kg5BMX5AebWthXcBvI9I2umghIkqFrDj6slML2X+dhj3fDt6EldPW6W4eSWJXu6GYy1sUmIydfEuTGLmO0HFtuXtGCP5NGV3437VcLdiJSxqPtKRGdhtx2+UP40epQkG6NjomzkFbgPUNjlkDQP6JJmEB6y8HqDw7GIvdG6LuAn7dB/HR0FluFneZHIzeRJ2fmnnTISiOY9YzgXevdZLhmSeg6eFolSf3LeQ5JNhSBUM9XYL5+oefha+cAeconI9iMNuHjxD0aXgIeFHVyMLUdo9+vYlD2Ip/EcS4pcDG3EHxP4mLHuRYF9xY8Pcx6cH7updSfy6sUiHhXN6LbL8VKCNQnhusHh2HU3X6xLYvvDAmKfvNKuh7Pn0KY03Km6A3N26ZFMX0LhL3lpS00WV7nIjQRhP2qODJk36D9n8unTlHyza2Uns6m+WlHuTj4NHAi6dVXNhODMxksgrLn0RRBaBKh4j0kYi/cx5rI68SB7zEC+gqlred2xetPLJ4cRyNyExNdokndkU/saAqoJs5LUeEyQW7R0LXkDJWFldreqursVcD8YD70E6JS0/2taxJZTvU5XoRDmAy0rwZwv6Da0MkfaC+T86tueC2FIl+ARCj7Oyjs0rTMk6gsykqJGfcP6NX1iqELFvdfjFIJqppuMoXNNbUbcAvI/I/YpDP+WlBjbi0q/Js+S/lt144+bsdW0O+jGP/5D9aDZ/M9EnRjoT6xkCQ8FYe1htZmoDq5Dd7RSKQf4MLeqce4ut9pwENxEM/87cNpaV/R03YPAp0Bw6JEIJ+6/d+v0IpGp4tBDWP3lvNOWu958tLkvavl096hd1shyHWJbne4RfSmujhOS/puL4606Pz/kGSqty5MkeoZOESJMdpwaNJimD5zZhbv6aWd3POn2BZnujimfKKJKwe3yUhXqCZS/oZeL1m0j3mwYumBtArUne0087ryqd4FFnu5PyJlDQcHgjsyAH8W4pKjMjJzRrECT9kmJrwTjVyj7+kUykpz6bgjjQMTsNZsKwx7ZGnV1Odz+asII32p5/Scde+TpYCEd7BJWnfJWIimtPujIwglkF2hWOecvwu5WzXRt/MMC1/8Fl97cIWjMPndqGJT2Shbtf49o6nNfMG7tSWg7VMtJl8rvntI6xqfud1dK6ckDEofWnAtjpct45is6YE0U9XalGTYw9vFFku1B99AhAhkRaIdI5HP9SwHeGE7TxwtIU3ZirBr4ZLVF1f0WUIsuyzex2NrwFMdpTkho4jqPZSnRF2Rcl2EGUJxXn+GsZGh/m6yJEQl3WwmoTmStmCb4vzkn7Qy6jtqsNI4UyRY6jE2UUxIgj+YGzQxqM9cZa9I6Ig4PHTFiTEy8WfesZ99WUAi8G/KQA+ncch8battYKI1ocfk1fwt50bSNPqeRPlLzRAofViEn3ZifUjxtQCspQ+wYqGy0NqTHT9KN6mh33q/x4MeYK4AlO17A71R8JE06dKnITLQJxZoX+mUCG5BdndUrZH/pRPiD0JZfyBUAMjhtdV2Yk9mNRkThYJDKrT67KcmguQL5KySh5W8CkWDHKUEnXvqlMnDDVAhDWQ1aTx1FSEt8+Ea49KmGaF2uXMtBcA/h+veaX/Vxew7lD+oSMENhqq/YxsEh+wtYvBvmgpxwgA+cOdMUdPOK5IPxbt+XGhzh1jFr1a8xFKgTC+tWB7v2qH+bmP2ggtJOze61ZBLCSBzzp6JJ39FnXAcI+kpCa/bcjYfWAyBXG66+6RpdKklWRki1vl2s6f61RnH2YmbseU63adck2JhK/Lp12fkORq02C3EbSx1metQ4tvymusU+3tWxnnZsk8kR7UehZAanAbbmKSlmBnCIL8R7lqnJ4NkAVC5LqbCnAG0Tb5XNn8MOEMtinpZA0ctsqeuT7eDEFqdeaFMMNEozP/hMKsO5XSNUlkGLswAHSUgaRDfug2NPfgRojF2lsi4dDXmKTMRFqzWZ7aWtA+4bI71UkJtApmGRuO6Ch40PYXUNAgwVeFN7KFCNPTkW8TGOrRt+tNcqfsL9RtcojkcsHZKXKWfsez6U6LJY3H9YvngtBd+h2Y1vCL6CA7Wg87t4mqPvj+U8H8ZwGS3Xjp3u9Oxs/jMBJTQh/vEEGiBtKKMeMKo1qx1WKILUpsKKhjGCZKDZ3BvvBEHEox8Oa+FYpMtDtMrqjN98w5A+hR3thHXiwPvhInZQCcZ/YpF5dxUoWua+wWKjMHfvNf8ZQVUIbjq6fVXVd7GfVnOV5wXNs+9qj8vdoMn3YTkyYHt5BLCh2zQiKFiTnuj/UjYG76KrFVXFXfvdxHM+xoZ7T1f0Out5KFZnRFGS6zsVu8UPPCybMogcEfGq1GOYM851lzfIYyP31MQMk8XkyRSMAGv02zD3hDNk25CH23a7/Yio/L187YWi60udGcchtyrwwsvYu92RPGLcrku1OT09dIm97iSekQgJgg8Zm6sxW0vzB9RmAnVFpjxt6LKpNehTaGTMoxh++XslHPC+5Q4LMkbmmRxAhlxw3/wST5lT0rHPspCagjx15jpkbhq4nsQcG2FndrPulPoOh0FFs8QphmYUTRfnLmEWKhzQ8i9zjnnIlqyG+Dk+pwCza+gayLaqK5Kt5pTa9+R7XwyNIPbkhoR2sOwTJtj4lrXw3ZIwYA5748JMWm7gqvJ3tWC24381qxrMmG1ptBWpTAGePdBvG63dddnQVXRdgCxGrPyY0TlYiKLHdDZ4/Bfc9nsdpNITGIOokuBCUQ+hqxomV/q7OjHrcD3YBKzj75FEehrKSu6BkXx2u6XdmUVHFvQY0GFYcIAAWg7OjCXTqbhXiKA7Wh+R41qU3liTQMMi0bQYsLwVLXdVPrLP7DR4siquDFkO/zWN5Ed2d3NFeauhl1ZF+tpOwDKVIzFVA30ycWi8iEnjlppSWpWFmMywFD1Ef8Aan0I4aOjxQxcS2BIsjm6oOLAPvRRg2dFnOByTuESuaGDbyD5g8ee/oES56HUBaHjOhJVSAbBdACq8DsJUrRvn+iHMfAvzZkkCecPHQn2TPxvxPSbgFN5m77CSwzxCWI7bArM7qSxJz18JcQQH4JTpTGRPe4bxDn2gyR2zGENt1qSiUZQZxNhSWajFwBFirh01seNrcnMDAo4UnHe9whio+AIg1qjI8ZcVI9X0N0KlrZxxZrsJj8qonhftwYlYJNgbZt5qntqEKCXorZs/SmlJP3pG2lhIUtzBiwt8N7jrufOE9bD8Gv89CRdyq3kOAB3uE4PZutO3vg9eUG+OuK2KHRODlZtnMjpcP9/S6FHtFfRD91ZdW6DfdFONBbhpyvsitBQFrtjlNs2YVFM0+slFPoGlrEHXjdFt8lhu203Wq65v7tO+yrL16I7zqsaLt3aTbOzaUl7FdqgqWUCk2dlsYHJRTxGi76XBZlunexAaF5MxoMxE1bu+HCrQLkxocQroRT5DrpbkljZ2X/n2Lb74wk++R8I7wUiIvbG15HnAeakI+KV659uZjtjK8hCFaRBtQU28xDLS1c3KsSA3u2bEkxebMkblCCCxaLUn0NOZ2mXTKB9HCjcpheNdkfvlsT83wyR4wQZV+NuIMTg5Dbbo6XlIngc7l4Fl6h5BcCKGFP+NO+s2Pk8+dI793NDPVnYxX4fDkIV8EoLFCiE6TUUQSnI40JG84g5R+V/QdsHZI0DIjLLaZwvi/WNQrq+6/t/eBILR8lVlwQzIJMg/CkcJuO8Jk77/UiC+49OLF50N7Xa6jOnHS5etdSBsfiGHehJnxhysWfma06DSIpwREDutG3lF4xUYyQW2Ezv3+fOxE7oEEduAdySnkE/pKDSS+cWyKPglFmu0iLFTfsJ3TpsqGjOM9tKy7v71yxq7T3k1trmwtP6tlWtzaspjdxKQY5EJmo82p02d/+RCBrJzElQ8dqQzOsBz7cSoa7VEVNJRkeEZsiiMTBc4cwdo7LAjGMqmCJznq8Ci48wr47cJA3UjXMtH9VLv9zYI5YGo9O9bUHVxBXcGusxo/9MF8RBgZ/nWDVkR7qHDaK+0UCoufabbBTK/XT7zmTUSd/aI9r6AErCri9SiMg32l41hbii/LCKwP5NsOI/AKVPOII+/8KoQbWBf9Vczy/GnJHbuv9rj4qiNrjUK97oDwS9uRUDDEo8dOMf6PRr3EGQpVEAtn84X6pDDgc5HADrR96OAYS03QVPLhD/TizqPTHR+wT9XczW1KPPMVYCLwagU15Z49aZc02yIfnGjmeY0PDYddi9SqMZBurMaK5NTggqXlmlUiGNXJwNtFmMRMwDRYJAQJn/3KSpMJdeFVBLANfABXGJEfBQCx3MoeTnV/EF1aO3tl7rUi8wv8033OkfMp5yvQSAXN+rCm5mNzrrnBkffJJvm8Dr/gSaKIZV5RxH/Y9u/t2u9g+NsI8wDKIqNH+eETnnkeNpaOfQF2o6dSdvfZu9RpMP1baSCWUDcZCyewo7Lq32iY3xJFgiMW3tZmRiDhvgr0qnKB2RoRb5zBs4F1oHJmNj4lUSrMCEdjWEombygOEq3LLO/VNvVARuvKT1usK3/RRQVqVTWOQ9mkvGqTun1sxbMVcMDuX8PxPdoDyKIZaVZsaUd/Ydg/qWMj3XG5ofEr97dzq3mqLraYRCwNuqOfulm7ajv3MlJQOp+qEzGzxDTiisnMxBFQlBPiWXm3UPah0l/HaIpYKOXlTds79zKih16OIKr4fDygdhIqD0P3LpxiIPpuoeQAZ9Kal9WstglMcJiIiOePY9E8RM4qro5bBvktIPfYJlGThWCrHpvhT4ZzIrkzXMwp3HR8Fmhjp+QmZg0xpR09dGUvuhBcKHH5Dr7npBauovcCaCxpF2w3/AcrE2rk56ZZDvN0yvgH9RBYL8RoM6q0Ch+ECtJO2dcvlXXY664awgVNiPNitckWIw2bqc98j+u3iqe3ypFVMy9P/gUU7UoyY/ByVUYgszcZAea2v7bkkjRwsYMt2DXLj/WCqpUWpF38x2IoGJp7NGip7ca/wN/etPEfUjZtawhtLSYiozA7jSOFqAlqaJTbul6hRO+kuwwyufoekiu5EBMe9eP8PPfflviSiw/WZaFyac7x8/y3jZRlVM7WaNy2dfw1NfcrHVQ7mz6ERCjNe+v6yMq7rFhtAuYuuqkhfpC2oKRW+wLA0razi38rV36KD1Q+eeuUHlAUvjE0XepB+6wMRiA1JO3GaJ8C27nSxBqCLkH+ftl7XMdfbFcZ8acKY0u02LIqdNKGBckqEV3IQKk0+lEgvS5hDPE6x/t9rUhowDdCLoJceLvSl+XsS+4baIGagasMlyo9lBdwNYOuiEGBRXoh8jzfizUFEPD4jXDqjpJE3KAvDrm5hDTJ2Xv3FxYPwczwlRL2vnYabAgjkRnqrbrLMU5585z9xDYSk+QcsVX8MB7UnJ3ndh2QU/z7XvVkdkYleae+5PF+oecfpiHBirlQp1zbGpFGSvR/WoAH/f2kv4hDSTOc6h+GE+EKALQnRdD4xXzpbSzGfCKbNnEKC+8wP7kY5nKzHbSxzCKBugkNJA9L6pd3mh6hA1rsDecgxBzA3SC3+sDYyF58lk6W43jJqe/XhcrqhB5dlKXbk/WhBgm75eddE7FVPYK+PGchM6ji5PhXaeJ9q6FSx74V6GtqWbU1FIMzhg6WDz0lSMP+fVTIZlDvbRjNXtOgaWJXBnJnTsDGsLGRVi/LtIidFwnA/YURkpiDgRBMuwGL0KjV+aMT133WCEBgs7jKwYvNI8buHReVIdie/79x5HlZ5ky4RRERxwZo+1I/II3iALPJZAh0P4IvGVjyqiNrR7EESqIoYc4QIRXGbXoIDfwOngQWZp8QiudL6iG7otahkKT07gj6ucxXRH31iodgBUxSjvQWrLdFrhduqY65yXgiTylnVCVG5kYtHAujv+0ypfGsjt/e14vJgd1/cy1iX3ED5ByofNlK9NdRW5TdUuThyt2s+3pSsXTji/pxkkzbg/V656clnrYHNTdYZ1rqqGzR1jreEHMKiavpubNv2ZT2BPKZdoSugpSZruWAx2LfWUZ0Gv9y2S100gGGLXRolV94bkRbQ6YwaqkGYyQ3l/pG8TWUSgC/4K2q/od+zUwI2D9NnLyL33xG80Y4RI9J8LbajaUF8zihyvYtI5j10S1YLFvJYWET8tc2gyIavccrx1G2ViaVMJ1Pyg+n1xRoP/PPoZ3+azYTNZWbWVWW83N6ksnNnci7+I2cl0jbH4b33ZkjC45h7BerykKu1f+LN8/3zUqsdXofwId5ylmPfId2Uu0TKHDe6WTaX8jqJJ0kUi5hY3AFimBo27z75AaUpZUrqnpOgZKK3WSdJUfm4y2w6UM8Mu0KmFL3B2niwte6EWJb9zPqz7v6cghFnRBL2nEIPFQHXFrNX+QqxSwrORyeVI8gW+1CrCjl1N0LtvmWct5KieqpBfcBlQWiz3kfQaUAq2cdVc3y93zrs3KcNsS6zFmhY/BS9YHwbdWjlGpZwbR3jNdSBWfQ2YP5DTD91I/zRPPzJNccSSG6C3lBYsIadluo3IFv8QydTZD27/1ybuS0VifFwMrmZjkOzGvLttzCm9b+o/ZxIG99Qp367bDPqsCaltUBPyn/ZfAgk8jIsPvjuCnMbpmDlXhP3bJbwvZ0RUxxYDtWQRDnRHgqGP8zU1nPPxQ0OX+gktkc46Ien0F4VOvjjo/eh/grD2eAWC7SqeZ9TJl9L8GE/ph9Go/pY8Hkc3CRC6N5oXc23xnz74xSmbu8dJVNyVvYTXYWpBh2fRzJHqNEBgSMuvLw/UA4RmiPTlCmbvngicJzuLX3amhaxM7nVnL8hAITvXGOCT9FIBgi+NWDzFsyaBZ5NaP+aNALWlwK2rbzhwk/BaxAiQqo7gcZwXHBx4N+x6gjYKjZG9Iikq/XNNX35YdL2svE4EMLC88g8Iq2JvFgKpoUfHd5dr4GKGmE7uxnoZjulbK1O+GJxX0ARmbKqunyEAqUrOAJdsSnm0xm16y76DGx3uQNKOVcgkqgUS2mb0x1kCneGs+IWuXtdaaqAup0CVBNSnq8STb2e/bduIRe/HswllXgoDfAYrerEM8wjUuvzIud1jvo/KpHcA2UsxKJBhgZIDCZTEz+UpCMSt7Mf4Fs/+MhPFpswxp90whSMwQszl2Nh+c+sc/CJRTSf5VUEqEv4ZzIGcWgxl65mAXlxSbOjsz0UuUyGar13ri3E+BguwHgsBL8JGxt4ts5ZA1paTGGNcQzL50c7jW3Bv97eZocCLkgM8jtbv6QMDUFrBzxP5PXqsVvYNNuj3gvBoASH8q0kKbkkH56lvBm+JxGn/92C4fOe1SdJrv8zaEeR0OJJS7GzbFBQMBNmcYpuVxE/fMWTCXv7SS41e0DMBArhtbzAPJxACzS82aKzwAzG3XSCo/rAwNNsJjveK4+g7qRdNqrThzTnyaNY2VzIUV92WzkHqWzfvFy6alu0g8L0QIkAvw297EPNz7tZC5xtkRDm0y8C/W4uQAXurz79Oxe/s4b+LkLyNU8fkBabdR1KpRDDTbi7s3oNMbY0K7E0olDCc0FsR6doKnRRyeJOP80w55yjheipW4MBqv+Y6wqvHh+gK0GJIvEkDpHO1d2tj4NrWryxCFzw3K7qXMArcfiddzcBNU9D0yovj2k3D1bSxMDndjzJmUp1mKeJDV3Tz4y67rprNLKQs0TygupQlEGrPHeFR2Ke2IUwV4PAccVFvhBIyOKiC3+HP73tzjcoO4Wjpk597Mk6LsMTasD8nyouvpodU4ed7s79ns2zLPkIT7GT2ySkypjdQbB/D5HsS1ABLbZBsMX4MOvFTrsOjiMwCW0OAvpG0SM+oq++vv32axVacozo9Mz0H2iRxaREx4TL7AOsvYIfOfdXXe5O3xsF1ghooYhaonpp/PYcwMjLWfCF1EIhKrsBNa+kYlkWQPS3NxKS5swJLEoxQ+QstNefVOQckIg0qVEfLewd0cuwAfujPzsWM/G9FIt0vxqASVucE68XJTgFtD1Wjs5uIQ9+kia67niXWHRp5Y5PmhkVneWyaLpYJvLRu9cm6f1UuDHB59qzgg43MiF6qZjIGNFkrssbDqdTwReTXraBIAAYfbjNmH3FihcGYthr2LqaOUk1FSAbGt4UaE3i+jP3vx4yw9lsvoN5PnJ3E42vxojZgB70zFevDx8OspBVrQ/cb8pPlnPgzaqIHFYiNLgIDYFaFja7ZQo9G2261vsBhvKPnRmSLS0DonXIw6M5Nxlj9TWYWCERmDWuk/vVDLkRefnnz1ziGrgYxA/dN6XHd5o/GXKGPMJoQquBLBhInEJtQMnR1bNJ/uvhiRhV0VKDGEEmGMamL2H9GTWmvQ9oxiA4+yyz7etFmldxaJ/7Y+iDQ8UvDPgYWfhv79G9vVMtBx2lkwpuyBQJTq/c9n+lcF1W1WM5SSHY9DEWFZYK8Lycza3jzNcpZfwFJE8/AL3Na+6iALPxIE2lMMGg6IpDok6Z/6FihzG3atunLOHqvygS6ZvwMrr0AalJ7ZlvZ5CuNnvo/+mlb9asQP5ZAKbCPLkSTJkN898+MNSgEF/rhESdUD/xS3YvxrZt+vJEdn2WYADOmHG4aiuV5xZdgRvkA2fwlID495Z5BNHLM0TG4IPFkdjf+gD2pTY7bqh/rEkLF4X4USKtj/BSO/tSgFFevKOeawWhVXQ0vZCG3tgGAQK3amBJoex4MT0DkK5LA6gYekoiqx2wwh7RFBXZJNB2i9eH3T9R4H3cPU5PMOMA0ir28HtG8hcjFxZH9F47TLIaMBEigjLWS5Q7K17gf1G/X1YDFRfiCT0gVkZEANzzatsPW47ySHv33o4lv0tUNDl/T67L4I+3KTbujEV34DOM6A5Kaob1h8042ISAP6rasofYtS1GPaMsUet0Mhbyx3I1YF+vz88ekALmyQi62RsfcLFprt/Aa5cX0qeKtkYMZzph21bR9kN4yLL0ISGzeQP62UHgZsDxDp53DBT9I3WMLRLhFYDSm5TDc5epgHhFu+CFaCRB6SAks6IULU4gRcuhybTL6P81XAvK0z8rMLX6nab6Tz8/c1tQ6I+bm0GStZpsoHBXkQjvw6MupZFfr9QoAUiPZQk5UTa6iuGWlIhdStIKyZd2A4H6iBwTHF1BWm2+I+sMwGtkgj01nHhyJi6ejZfZa/ZybzOJmhYXeFwmV2jboASOixAD0wIxpoxtp0Rd7Lfd+qxRbehvkT7DDz0UTG8/4bT0k04U/7kMdyY67vNKEB8ftNsai6PAah+96cb+5W9Gsc4pb7YpobModNMM1W3LEBYVwp6E+Tl2APKFVGp4vleKcmfpTYkdY6aZwtyTQEeEDD1H4SxY6aL96JVefGKVEa5tyKyKrXRZ5alt57hM1iSQP+T2pxs0DjHh2JjH7Tpn9jlJgIaTKDiCpMjwIdiicEmNQ0eROZdZbF/QMUEcAtue8enDBI4Hc7479sdLPQMvAGl7YUUDlXJWujGJkhFpYogjyoK8TIXHcebTwhOboKB8B2Jw7Td9vPw4s1PsDwPxxY6EtUtmzvLLUsKxw37qDyI7+A6KgdVkyobOql9QtEj3ERxH/MOLCqD5QBQuFQacV6sM7zzk+URh2BcBnhqp7wFqRZ+vGkxF8XG7a5Su0xfF2lQuz1eRUmPlG5ecElz5esqY6dGxt2SwOBnbKrVuqAbyMmgI7yi9QAOzEaXVWKd66+vaqMLTBRHrsXV85nsRoGtfLx982m/VbQJUUdPXrjbWL3JuPRdpzry1w4TSRkHB7eMy0jB/pjYG/5SOt4OVtUitmERjHpDIPXQ479i1Q0J0/01PN3p/w7TfEL9JDjMRtr5zpYhuxLDdd3RkkRfeY88wApQ86gZ/iHN3ix1ZJs+5D0P6e73bb7dHmisD+wG+fjrrB8OIeFbazof279GGS217IMt76PAM3SCZezAvz6a94JDFpR+6yJIqcs1YSI1ex7k1bPjHTF/GjBld9l6Asd3OY3OHr4jEogswzuhu0lEXNPhyWzdwBwkWi/uAlZkypGvFOApdFNtfSkmsOFJ/byC6Rx9+ml66xLnpNX81ALQchRyU7nmGgG4OiSkkeVfNOV/f3znM8eIdUGD2TkI7AAJe4n+EJcuWAnd83fMjfZxUWOlD6grY5x1aAMP+zfpINW1HVNUH2zL5cjYoygfpR3D1gckNyt/smgpUvs2HliU89tSHYqYzGQy828xhK2dtT45CsdDWBueSp5PCPAkKCfnjEqNxUKjTQHNXX07e4uCKuW4b/6DsC5J5oKozB/S+gGuE9G8clHskWaxeUgl3sPhaEaU628KCF1QLJ4cSLu5CX7/gzuSdH4Nk01ZcjuS24eZjws4XKA5oVAoL/RE+1DAotleNABUCdYYuLHGvW3hbjZGVVcYz0PddGIc4Clr+a7D1Lo5lyp8Tjvqy0EQlHig91V4TyFjwxfyERxo+/4kBVKteTY6bKDrjSjbCj3YbfQooeLo9Wwfk0e+1X4MrW2KPVuHr1joUjl8EP3yBvYtMAnaBdZ9svMuQ7kOnU3wkvjhvxmKUkEevfwDIgAcUw23ccK2vfEMQChzg6ZkWklE+CnX8+jdZZ2J2oCKkTzjyg71OiPI3YnkXl3/+91/oUYRXsp3ivUIjZiuTffuqfS24G5839/12nD2wd5AcwpevJVYHRsJbugOTuhbQVxwnncOpV7Sv92YZ7Og96kTG0txQgSf061vMXutx36PsgppN6tYsiwEKoBZ7rG/gndk4hXK6Llg8o0gT7s3mJ2KngshKmftthKktqd/g7AP9eCyWEFle2aIHq8H8VNBM0c1XqkZxq1aFctvf2HfY2dvy/hiRxFydPqk9RTJ/QoBL7YQuhIEgHNgHGeTMPRPvNDF9OPDKOlz5UnbdqgbAcD4FRnXPrfCwWLla7B8jmqUm9xollvKcz+I2qLb/OtQ9Ej2GOgRXWQwzy/4DHKzph0Fgvb6sks3P6VB1SLnuh3otY3KdTiM0JMf3o2X/Kpl/zptncEAbtvEBJ8w4j4ZAdzx2q6Q0C3oiwjrGJ8mkApKURFA3gKnAeg0+OweI+Zpek7qhCuycinYPxmpRt7TbY+2giUbzusktKK93h+MtJVuec2TDxzLu5s+DCJ91DCGCidaYZnk8QQHP4qV4yvAqU5tbr09ItEfJa/Fqoz6qk4dSWAzAI3Ei62n7uTSCLu7cWRHB914U2MNm8zJMIuMu0lSAF9TdvDKLDfZcM2SjfHn2SVQ6X6XHHRLKWzXh/KSDrEIRZDmSw9BiJKFuH3WqzsXq4PBONXe7P0hTHwaIaui0tlhnsVXo0GBFRb9KzBtwcLH7uTJLnxUDCyllmxr7+Ncpv3DouVdVeKgNank6+7l3WsRv1xJiWuDJDVWvB5VUz9MEZXrfcz9AgvOXwmN56PLtcxE4tbWTTT+zTVElIijEtq6ONnn6Ji7F1XChgYB9LqTnNwptNWV3bUt5na9ZXYgWKvgwYdjqsz1aNk+uk+YP9osgu8ED6xQVCKHuyP3WlCLgYsowA5E8s5XNLxvvc3CcxcKWOd6YvswbRQ9Ud1caezzSYR/bOFzI4p2+4KfWQP67nyO8nDrFqCxadhKHzZxCTP7Qj8OyCowXXDgmBkcWkvuqgsArecE6mdV0tch7x5mrx8+ab9whlN386bDl4Uf7Avd848r33CJaUPjgTeLV+o1lyOftJwPJayDG2QoYwr8r5Q8k4GhyWTmor5gf3KvmSIU1fv9GcJ/g/J656RhinqaQWCOyeD8spgvdE0peWowxKf+y9CcTDNMFnw8mBdh80zBk8h7Uv+rPzN0nrRfxgvt8Vx4syMyVVxcWBrzr+VXrg20xnnCgVzpsyJ0hnjVHHJ+qqCwfd+LK2gg5fjvlGiWrNuAmfK/FgfoQq0fbfHbw+jwXQvA4SZqXhh5RX9/hwDuZiYiq//B2LYT8C+jdK7MzjOxUgdZM5ScicUPpHzp8kMHqiKQnFuAyPXn8eniiYpsu+9eNvyFI3+hkJplkwSBhoxeutSxHNEpp/JLUy/iD++e3CtchsnvRWZR3Lrtb/psQNJ6ukigDbBDrxlLjbWEzWBfE8j+UqcUxxK601J+eyHGtuYbQzM+lQZqcolb8LrBBvUjVLW24z59mPLa2+0vkRZ5Or3e+1c5eG7aFI6+5lamnqd2LMAPBCEiPqr+BRlTBnHp/ITyV07e5YyHqYSC/Q9TX+5hHw5fLlVJ69NvxR8cQLIGZIKJ7vyVyPG2I4TOVMD2dTh4mX7Vc4CJV5RIOUXncPY1jI2zOAiJJI6pgsO8c3rPLzKOy8Hbf+qODRsFkkhLRoOCHqay8+EDWN4w/XmJ2GqfrdEGUzTJkvJbTdXLzcMGvpnTEmHnA7E1/Zt4sEIi8+NyxMqIGKxRl+JXd9KHkgiTQ9BY+FasDGeHpVYimOD1yGgERLFmPI1cr0mfBbF7L1LQnhlJ/3epkHG/Qzeu97frsvKOg7usm5yG7uB5ym4C+tjsVwQqqQm3Xx8Oi5no1p6khltEV2TQihDUfTU6+BsbGd7RR0/PAU3EzQvTnTPOB8HLVXjTJTCs4hiFYBMBHzauZnTvMivJrG4Ducr8EyajmlFOIUHdKHBgeB7RDT2UJSEKua8oYEGQBi71V7aS3OEME3FAelB3i84h+xzm9w6bFW+lUHnvsXP+iOpOkHzAgC6pqLqAX3LPctWvcJwt6DM68tQWFXAipQ93yDasqeMqKgEXM9475pG8OsgIs80fJLFj6z5ZBv3SK5ZbwHRcwchW8tbFe+bLQ/OLKgnce6uoqQJha7NZv5qtCfROHUgwDM/1/fsbX7lqwg08CiPlnjP17VHJXN7+jTdR7wTlaCsJAa8T1LpjKHllHHvsySRa3SVDiSQ8U9i4rWeVQtg1o/e+13YYtFzfk2w+iBvpzlfR//ptZwSjOEzw8h2kBDFEB4DQK6Yp31/xbFaORKjR3RnVC3FZLgOhCO+FpZ7qM8PxIqbXLZiy7LCTSOe+vSXkA/9XGZuJkhjebPLehhZBD/9GTllPp6pSGJRSqPqr+sSSX62lOmuQ29cQg4QWpgjcS7IEGpwBDjY4CjP0uYDVEnwMd8UDe5GfJdCGNdZfuHW8KVG+zJ751Z3pBO+bPBvMwWW0KzsOFcBF+jLb6iAY4NwKjyfYGasL3vCRqc386VQ8348x47rUGhEuG3OoD4DI1jIaVOBLJzPdeQNy0i3ViQWWnVvAg3Saqb4k2Lql6lcJjf294+ga3QUyIO3U79ZzKLTocto8KYq0B/z2Y5haMS5nAAfNOIuqFczSodh6T8mtP4Rob3z30ad6WNX7OBMclTotfzHmnpfV2Ns3O2VzRWvCE0ltsYjdT5dqjIS/HKn+UqxzXnejlmreiTI+QQqh3eEDRXaiQwqms5fE4gCHs79jYeFy8DwVZN7PceU4ePm0RIixbkt0nysAPL08aBiOd8GCtpeZpsOImCBCWSgV00tYPTSaV028NSdVjGZ/7DkkdjthUD57Om89St6fhUIrrvqnTB9N5r3ssfMmmCO1CvwWlcp+Sz16K4Ue7uFDWmQI1OnK5xmQ1UA06i3zHoJLiEMW7bM7fZKnQ/iP70GUY1iaN7JfP7Gc4gQFkBPBIbZUWvqvyUlxFjQsss8BfLpzgdrbXh6zqFFf6Lg9pUa+ZU6cReS9oaoBv3PxQU/gDJ7sbi8FJM/oA5v4Cp8ubF3SqksG/lD93pfYVEJDaMp/EoD/+O9eTBHBH+3EtepS5dgN80XsCXRrKYi1qABEriyshO0Lp/UmezEI/Fycyb39GJXG9VlZtAoAI8dHiVAjL5cut47d26bQIs2optmQDqYaN2UL3WT9lhD+fD4gP87qVVgQD/3GSSemdf9DVi5VeGEIuqq9DMuSHwwI1Dz9oYJWzobktdGD8Q/mlR0JQllgS9wUJAjYc94a8Hs5zerg+VhbaLDhYgH8LpE90j6Fi50NI8bKeBCAxOr5MdOQIbmwSzgs0VMTHrN4x3p09GOUKTrJ2lJyhWC/IaZCtOScBoQyFj5PJGs0+MotUI2YhOTzKJwz/dVYK3TzZSEkQoh9PY1sshCA8rFc7cHvGRueWderM4MwkovEF7wxKScA/wzOTQJpXklr2Mk9FYsGpEnsFp3g+fNOdLldIPk6h+D6HWi6hiPQghDNPJtYAPqd50eWTzkHgH1HREdouAe3Uci4o8fpvBrYieeaFiRW6T6spULEdyO9WCmz36W4fZCStgWDjRByK952ZmN8HMLIlksDAA/083BxUFBIECOtb7uKdm2vei1HBUQCBbAp6CuWZXqas7QVheaAN5IIKyRFmUCtD2KoYGBzDsz9mzHdTgKSR2pWdLER2IHSUQlNDlN2jhYSAU14djKDzeq0A0phyiALmUjGBMqgFt+p28aC1A6k4xJwVZ51205OQjD6ubmu7gHgeLmOKLnawsIOXvkXB7XbTb5get+2G6BYLmb2r7RnzZZBeoPX6iBiZ+r69MEAvvG7S67ZPMXUMSM3Dr/x5Psdntm9T5E00BCb9P64i3pXRB9p2hhyGP+wc06GiJU6vr4W1sp4PaNsLr/RCyW+Ern1IGCctnGhdeKRRsbdKABBXaT7bzo/zha5xwtcvFl5/RHjF2DAi40dSOIMZCVXTv0v/W9UUtILpfVMqCH0A6yBraq3LLdqbW3fpGuaO+wQ1XjDkZKPVfuNZzQ2cMI7LCr8FjKdnsE80Eyuq1UuWcyfAmAdKJdpw4CvSgwZsts91LiL9y5dZenfiypNMStpENIYFurPMKC7oOr9vklkfYQTbchS6uRhDmoNRn7r9kmI2/Nca3iNs4ewuiBPzhKj1BVZiVFkzD4I/l/OynfcE0U5tR7qYoFzZGHSnG7JxzmkvubUN7viY7hHMg0cKLsgyC3hWuANqlOXay1thFnQUSeO02K07b2ElhKWKBgpeq8UgwZNOb39Qjde1flRm3m/4umPtStKZngI7oAVnkfIGWn+B22okBNBSxXGqJy0/NoTwm/DBK/7+5RiVG0SU7cMMJJqJ9GpLFWlZ+BQY/PgHinINx3276A410DThzXIUGKYQllnpghKDF67a9ZjcddO1sLM7AtgRpWi2h/PRaP6D0zdfc8K00FRcPUctNYNKbsCwabpfcAFCT19EtKfdpII7LhO+Xk/NFgKS+y5KQmIFSQiUdNOFyqpWTV2IvP1ZrqPnNkjGkcaHHMTKCAiXb0C50AvZXYxgzn3amzFJR5FN9Q9a/eEz5suPmu7GAf2ygrXmuGzRncHGxvlTk5DPAV6pI6ciiAoB4Ljt+cumwh4JHWj/MqOWmRSWfqE1s1Xn2BmBSvNNfM9/4IDj17uPoIkgdLhKBb1gEp+jdQbIBSkdUpiwgydoEBOoQ3DqZjkVjWKOW03bNO8YQwCNEiX2tPFPLI6QnYS/2dDXqMd8j+B1MpYJfyS0JIZcuambHlu5T43hNZmId2ZOa9FOHgfr/Z4UA1eRiNRepGYQ8Yx/gSeOATN+xEiqwapKIF0g/7y1OAAg2Qi7ltsoNRkiTfC86GKfpdmDIBCf/IsbwHtB7VsKCTdzvrQgDWvlX4WnDWx5GlTqc+mcCOBvrsFBqZwveHdzFKI8CnjFlGCHZcOpyiTBJv9p0F7YqjtFhzN/nMI9MExnzMUCBxnAXtvpABKcm3mz2/4Wnmxpjkg0ODedK540/xoqX6SBbIBA3kmuhPZ6mTXWwkzStXH9gm2Y8aML+UDXrvuim2Rb5GC3n6J7mwUNpODECpFQxZBqNOCeFxz1WPqW8gzuIlnkhXr1YbJfrZWjGsEzHtF0StkHxbcvAfwTSGwGCpD7vtbN3Y8IEdJO2QNcm1zlXg1tqM7tvcIQlzLrxTluJBUNBry9gD7spCUahQVxuQp29+FKKNybFS6dSwrIXzTP5wPFnE3WlQZ83VYqux0WgMdQL0nCvvt5PTNTX4SQPsZBUyyFDVm4mOufo4DQiSnPDbtj+i2r7TOsQY+g3GU+cc5rSmbTyQ4kjgK94Vq9QdoplNkIxTyo8tVA9w9p1hVV2qC51vpw7SRoYjsPBFSr2aiSd/JUfRVdLJSt5fwoU/62uuzIPH4vH/sIP1XtxtstKqKLlHAkPp5ylp7t6eK00MsQR56271+A05KfVaBbwusSGVrLG3Xe81hPgepoxUvaWA4YDHjdZfwahhmivzZJTtRqxZS3eg0WUOQi6Yw7ETuFFn5t4mWKn5Ir3QVTKssOvIXVJVYcXdOasFyU0hD2THU5TH2J+bUhILl5MsIH/HoZ65Otf+ftvdjId/BTafVfKO9g8HmEvyO5stMOxplAWjJj0egXl7JNTRGKCR8mBta9wMHOhuuzABxzT+QTrDatQaoygarYCkcKkqSKUJ26I6wdwvPPt9CaS053/i23jgMhzNdS21CbgUgkgBliKXvAYsKM4t/2NEPLjao9qJMdW/yVlW+JjiS/pRo4TvGbimP77FfA2n3tRxMIE90nOJTbca8Ikt0dp6SSF0RPpGODfkuQIHi3aMyJTipJ60uPo9L41I4OFrVAApXg+nbVJIxCMuQ2ULyoCR132eLL3Ymdpu9hk28WeYmhM8BCkb6fpt0BPVNKimovO2lJBicr5hZFTO+6dxnUFJn5AnRZwCvd9mwMIIaaEF2dJrKxzayWCqmOquiQoZRU/PtIfrzOCWOqWhXT23RMzPZ67kacSpdvV1WZ0xF0Hn7O5n+qLq/GYNpDK2nBxcGWqb36xcZEQDS0INJNsaVwfq8wH6uZF2TYLoF+POsccxEDIzvo+0cI1ftFvj7OGFTErau47mUugbwdHNR2bgkU2jKGG06xXdjpuRsqyFLZp9Y47JcBpmg/Zr/bOWYxNYa92zy5JcP/OpHfdpLtrCy1fak7j3Rs8fW8fhdS+W23Ov/CVD5Srd8lgBjLDsmeCGip4vxlIOH+3Pldoi2bADMsvQU8761eVSgDUgURvQpLx30+KMc+4H58oO07YF5b/QSwhQBwALFSK80ynda/PHlAOX6Nel/IsaT9Bz8cM6R1i2WOB5i8+Aawo4Dm/iw2uo7CaZJQSl5Vp1E1rjiGI3yqErhcOdrip20erkcil5ErQIf8l/KflrEoihHpOzwzweXFOiry1f24maAL/zYZhq9qJsGd2IPqQNB87FH4Z2UueN5zDEQ5rKIkLdJHqOXJLm0fZAMGe2tQ1rFEt8reiYL4BOM/nBrW3xA4JeYmDQJkbovyn10GOoGiRQDVxklh9fQtZ2TY7cKLGiPragUXeoc7uGjUWK4Spdhep1KfYWs9vZt2am2FsLA3QUTy78VvOHYkfD++wf1FlGR7fG+1OuRyjrNNHQg3DDOlGVqgryPsMm/PyVPk6tDYequw+vkbO308F5PyIyJG4+fih4cicODeGHUvp+xmpO1Pqf2oAkBtjvz0cDTFLzjIVQVRNHXakdLJKX0+tM0snnuiH0p9Xz6G3pV2F65Y1/KEhmbzQGBx+y+I0L4IJhqRI6SDNVjBDbErVv7uJCqPm0XXyR1gMxASVKk4QOXjhyejVcELOA9nak6Xvw1TTma9crN8qC+xtCwQiBM2zpz9pE72seIg8g100SKWWfjg1m3li+iVSw/CIGpUv1itELBVOckWKaXkuJCDhmVBh4rsyRET84pRAMKZriTBtivkew2BObiDMQDULvzvr948PT+ktkK//TPinsvJ/tpcbSGgnRbuanMLyHI8bH9+SzyWP30WURj2ZHwu/9KTszX4r4gebBbkJminjSEYZ5Wmule3oD+ftkSFLmhyHuPEcTTp3DfCHWCoj3gqU/mQSF0ZyFVL2XssDgtnQhqS/VgYk7n7XO5ZfD7nAbPSqnrKY8FzDReLpQ2/dpImUOBJfGh2xYhdC3Vrt7lN+nJkjSekIbOkuc9eb28vhlOdf7lmZbIc221EfR/jHXtaoUD4oofKd+KNGE4FvZyXOunGxm8QHX9QsjizBHQCUyjdTLrR6VbZ4qbSuarMPbiWTC49Ifu+C3Fl0HdwcPlnAgA5P3la96/S3uoQVBrl7gvCP+zo4zxRHi/30PbfQhAl9BJ1cRYP3/8/FqgMXISR9d85PgoQ7a1dL7YpHGT1dPVARnKPByI9gP6QpaRYyjQPxr0zsQaNjpQkoaOjeqREctNNX+O252kcX5JqF5ruFb7HP1rqzA+Frl2ZGk04DtrtMbP7UtGNBLdUqxhH/MimiWGJJbqckD4cbfk4S2hNLpCy9CGMYqKGyRJ9ZeP477p8+PM62kRcPSBSiG5G2vMDHooQRO+PHTftQs3EzJBAD5WNqtQOV9fk1FLx1OPRkfombxJf6ni1JRHrPC+mDSTaUzQ2hdis1CMoQ4cjEDT8l4kRnJa2Io1YwYOKwakU4VNsjD7/W6BuCrjSif9KXVxhOwQu7P0JPg98YOS8ixndITUR4RyYgHWRNlcz8hHfRdCVuMpRLz/bqmMKa5fCgYt0gGTjl2XpxLRhk8YN2VHavWjs9qiHSnMEnhc+fdxj39jdxSiWitYn6aOzZUm1HKIEDRe/vZkQEFJxqFQftkxGPiDXhnXBM315vsi3gN+n+zEK4NWvEjKc4vnjk4OJ2yjUBfggGlKKb3C0Sm6lIxfinPN+LQ7n2nezkksKqc+vcuinAJqXgtXYdwZ0k7OSQiXtTLO12BnDKI/i0sgO587fF5uV2Tb4B6d/aGg/iUh2Feu5X8iRGFdROrdNhWria9RshX0YgJbaVjFeEXxng8JXcsnX9pY5M+pP8W61IksgaOiMqlyb84MVzgRHSfxpFlGggR5cKPUqG5sylPiGluVQxHCKcXpJR6trTmeDftcFb3HTWdUrzu282rCUw6d1hNjIBDAr7XO61bF0pvEGwq+7FgHsPffgEejhCBVrXSVwjye8yDCwel10EaL6VEaJYD9Fzw4qFnGsgoqO89z5VrdfAjinsq9t8d5QLltdI1qIfWsQG+0FYCTB05l9UzT+8XW2ae9qPWvUfGxrdYe1w+00Lyr1X97eUonUU3iIFQJl55B0VFm5OkxGoioYSgA95VDXS/LApvz1znHYYdgoSkhWtlzuAXHO1+54lkVaSAS0u5XAu2vljMRo5vAjSAvqBw6HHmu4qdYNp+2A8NruCLBK015QikRyzhrwTIOquyEdTSPi1Mr+A9vInyCrUHVMmY55wUQr6UfOgXq6Gc+WeXDucekqIMPfSwE7ULzLcKTrrW9vgIR9E66rg8PAN1dKAQ78ZoJSyn3lXgtQXIJmMMf5ZXMgflp+H2p7pNhlA7iNokfSfprN+2yqQ0AeS+64pRKQoaD6uCsOT2XTdvLEh5W4VE23v2qRMzF4GJBmyz4uRWRFi7u67b618602Rh8ZVnvpP5TitiX2UUcVlmNsKlqNFBMhTKrSTQjlXC18YWboplg4wuiEpDMwcBo8G/0pVjQnNyjrJdReCZr0cS58THUXGfpeji2wCKytDTeX+KTPkmQ63a"/>
  <p:tag name="MEKKOXMLTAG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lIBcj1AhOaglsfnW7bJVNy+Enu6UK0QItpF7Lu9UORcZ4SlpnUax+QPfM/lwFPHVSHxaXXiOwGJHivZNfu3EK3IuS2PnGFcrQto7aCqTO1ypfEMgTPUReVS9BsV25ikWqDqRKg+mV6HwgncixvDD8HTtGZHyEpTAPCLjjcvOgb5daQA/swa0yE+MUHferIGtuiHQHAfYrrPp5qXxQU5FNFII4RaFTwKiHE0Qq2+zWUCGFSRUkUROJiKWgayH0tLInZs2WILj/jfWKtYP80+9zfILe9ZLdE/Els+OtpYw5v3+ZZy1quEWbJkE+OcZpEoS1cOrGl/PkC2Wv0b8ur2zjEYgClJB5bT99uv67LQBjyjtlnJbIwmZDJ9efeAmBUzyUEFHu8jIcBOf1BagVTf47gQwbd3yyEDdsTqjIN5yKhyvWPe/xW0R+SIb46I25n1w/wIBUsX+zw4s/6pbiSgsWFZCgP6TKGpq6QP0ORPb8PbUQ8DpO0m2llPlqFl8Gry9l6wJWohAxrBE5F6VEoN07FlirxsRn+Q88jV9h7VbBnrmgf+//g4T2CXI7Rcay56KeX/INBxtKknMQ3IdKmtvOTT2U2mhA4E1MVradqrwt25zWn8ZtKBV/QXImkVAJxPYYFLaYs9DMoXs7/6axrKJcIlVIF9IhVFlM+yNamQsjganyruPTOlwjPskmdscOKVVKvEQtgPBVSWvLEPiiXUbt0ER14UNyaqLuJlrfeSHwsOsfmVfXY5m+D2fbjeEO07N5sF/RSfMeKGdqZGYeeug4bc8QHX4gEIOmsvPVNmyrG7oFgoUt23HXs6TzhRlCsFDlaWwCbpNBlAxr5QYWOc/nq6FqFb/VIt0qpQhr3RCZ7yegJ9yzaMaBG1laO8Oa1dTFlWEhXgKlwVcWCVG/D1OyOABnXlAj/45gfL7lgy3uSwbsu7niIz2Rr47A3tmYuC2WWSAQEzJcSKGF/kyN8vG6dHUf3CrgquAk7HSvydlIffT5BV3cTCGU6pFdN86+E2Blb2t+FP5nhhL29TrMli2EtYQiXpGvGNzx19vz53+Ir442+C3t+dQi9sNuwPUsGtHCKrseSjmMymFwA9qCkEnXHPsOjeWo2Co2OaSf1ipdFAGE4oFrmvI6n2KMeUfWkKLM9/J9itneOPwyX38hZI0o/KFNtPYqTHIw7ix5hKeMjtykV7DVy5ZX5VDyElRyfyx3qtWoH4iUJeUXZPHGF9TjdeUdHxZOrFbEdgC0Ge+lokPfrrXad4XYdk7mlaIH9H4HvD21VD8ARMVacRrL5aUcBJjMbCjvsiDKLMUXabtiCM/dKfAFWH73xUv+EhQ5yA3hzayxW79tjIxwq7gTj0/OX8gNO4itEKVh05xRNsUzzc3Fv3BMn5jseQCWpOqr2b0rUdbVXnfkOF8d0POwE+amuwxDFwViFcpnpW7qm6hvKSB9oC8QcotrSKK1GFrtVaqu69xy0yZu30R6Jg+ufJ4TuT1Ujkl8Sis+oPTfWA6IDb+qv07iupksEbkouYOXMo8yECHa5MQwKf6q6bele+4bWJiTnlCc1Lwq+f2K/e6zo+6QBP+plAtuid5v88ndCf4xoJWuaKf6aN2Mdm6iaT3M9g6IUMf8ieYliQWPjjS+3J9FewD35Em8eNmoXZEoHFK1KLAd3DkFKK/Z1R1dbZlIYc+pYa6VYP1Hxrsh9Rk1gq7f+Mhod2UuYH3nOl3iOAbGdclfdSROyH9dhL21EG7ATt9YjLiolMiGv489Wt++L3Tejk/OAipcWm/CnI2GZ3f6JJXh+0Zo08Cm6H/eaJlRmzMOeaZZ8xI6/sktPbOs/uyUX9SA9t9sjSd8RE0zFbk6zjIilxCt/rFWPEAt9kpNrPRXGULGxCjUs8QdqEBtF169kCJUHpPxPr2jyJjInI9DC7dhLIVVtxGKQxxnxL5BBwlR534p0nYhN3PMgOV51r+UDpRfzO6CRskazWgsn748qqNMObF0aaxmLpIwMzMdYyOSGxzJsNFuXTne05UhNt/tL0DSGLcxqhFnElI76RZZhPfX7fb66+GiBzTSfWcaq1olXWIj3h/KmxSXkhZZYBZ50bXRy5iIiT3G4WjeJMxRZAkJ8OUSw7xsKqOQSWF6wjUmU6jVuEYQb+s0tJWFZLGCJ8rHA3nx1Ri+G2wviI/dIGqxZxHBl8VkPiLX25b4s6r13lu2G+lGAbOJdWj97bqlog7LRrxePp8NOvie5U7bHgWOajXUl9Qdf7DEJTW8eXB5DAbEw8+po356t48XolEy/Niby/aP/O345yvAKZLJVKDyzv3YATHoRlPj4oUII/rSpJh4lMdiuQEFSiDBas08DdeHJg4eJfxecVYwr2fenEtfD7hHjWxeR/+sdXVPqfYl2a4gcCHwCwOOaUjtiNVf50JWKv0QqRI+d8mMkkwZQQRC/C6qnJpoHAkxTEtGmuViMg8OXZLPEMr9ry4BKuhnzSoctY0pXgYciyJr5qkVsw5hzZPxLYNP4mz1iFiwbbUD0Hskwy6VxdXSOPGe3/VvQ5/dLDiz2Q2JwRGd/fu4V9gqzWQAnj4cdQAGLr5XGy+N3ijHEoFXvPEh2sHJC5D0Ju/wXbe36hZ7F9nE1FW41HCC7viOn2K/13l27RWCiGmBe5U14fp6r59JUeaWB6kWCYYvSJn+1mxlBl7ZcyWG6IsTbWPlzmy+91boulCXft5uQhCsunibRNY6mMpzLZZEfZzMwVZ4RSBKQx71Y2rDy8SObQ9xtx+d04XqyPdKnegEwWGSrOqHlsGBx2P/PfF/blswf+Pr1If9G41uyv+glnfQgCLzMsSS0zOq3gax660IJXjOv7ptpROGA/k6ZL6wqMAJ6BkpS+MBSd+2HPdzmTxwCJNrVN40BjtQP2ifw1a7HrbGviS4d1oFAcL0VfI1L+r/sjiCS2IhdSnUyABzqYdS1xmUQ6S6fj0+XBn8yi8gWUpGPnss3w4I//ERGvntFJkaOeV3nzZi9ZZ6aRJcHIC7hWaaNmtDzwRIU0Ef46jORZODqt/iRBt0uVLCMxWtNNF0R/JIhOBMnWX2jn4CBl8S9anDo0ZltFI/STDN4LndWgkRFQF7BdF/4jZqnf35QnyPccAaGClYhNbovgnK1bXsezqal6v4/ZeNWE6z8H5DFTvMnq8sPG0dTE9je2JLIsN5UZBTrxXt+L2DYjn83lbgI3HL91dnGK2HNotKQTj/Hr2/t8JgbYlst+NSxYbLjhSpCBiN9ob9g0uQ/fNEiYTOGKJWEjlBR+nAxlxVYVFpnttQAHtoWawDE7lM0pqvGOoaVbWARGaw66CBfRqeI88R+9XEKzS7D4Gktl/8cg1u6LUg5UrS5P4MsFotdx32QbakNsjkg9yM81K0SvoVntc32pIDHhEF7CVOMMgidIGsASvSK6bAzsDcrBhvAMhdYWqICDZq2PcgliTXLo/D0OD48dFl5V+8cOZ6Jk+Ydo2pd+RShcijvdElox1dAfjjOVgTDgztxtOhhUiav86unPfubnWlnckEvXTuHrTaU6lQvWmTfQjIQ/QGu1gDPPB6OJkb0enQgDlTmg83/oBbFPQzi13AEqe+GF7CCjlcFanLdRW3Fhew39PLJWYwxLdJsxvq/urV79nU/uBKputBk4t503D8pfmk4AkNcensZSnGYpmCibgYtoOPpWvXU30byIcW0dsfnA33jYaQTYornO5aPlifleIwYDCvX8qvy0mRhpq1ia2CEmOPLt8uFFL0mN/7tUNEcdCr0dEUH2RyAItQB9OsZCLRiGd2w+O4IvPPp6u6iHsIYFwHsMiDMa1WwCt9GTi70g5IXBYrnt5qOl4h5Ap0WAETdacQQFqTquUD/QYday+WUdfq5iqsb94mE5d5084+5vOI5YmCayatkLECOIjyN8PLMYOvg/9+Na0n6zRm3AaJxIQN/BW4L04sfRd4DMNttxSim5bl/OwMoyCH2n2acgfSIeHViyagIPqtwzbDpBDd0E6AdlZiSHQOy2/g6hghunHGbFN/tjTYgVQ3v+ZzeXcmi48ghMObzQhJw7qHIbOvBJujwNAu0kQx2Q/GXbjIyPcH+H698qBkDXE1bVn0FbYjWhrA8xILi+nHd4n8zLMdeVv3WAF25BpJLogLPKVQ183si+fTn1l7IZgW7UgY1t00Eey6UpWnF0tNdz5uNrtKbCY+fKdni01bI7TQJZx3dVLTpmHSie/i8CTAnFiuFWRycD5HghwO3WY1hL1zMG6xfzja/lEy+OJLQb4KadaD0CP+Kn1a5LexAjnpxWftDKSHtUjwVazIQbfh3wr6yz5AbT16lK2LfXgCWtEQQEaqhoF9s5ri3uNm+6YowWHKbxRIg/VL6wmx4wtuT3jadc2m5udHLs6j8Io4y/CALvP8qCr9UV9vGy2MK9+pmqR56C5+LIFUE1nhEaJcxtbDo3jaSgm3QGBWcyTSioHBZxAvAZVuCtRf2u5cBwQ1ccya5SswPZpH90U+ouVN6oz7Y/p4djhBKS2vq0NdSPb1e/FAG8KbPZeapzh53QwneE01Y65ZkIKWDwzDv23xcRMv44u9l1kBg8i3RvXuFrxvrKuZUcxKbCrXpnErSrAyKX8mHz4iGuOkoA30tivbJoQ/NA9st05KB9o21T+j9gmcwNZmJujWtBDepjkFbFP8VvMpCED46yvq9e8VOWCco+Z15qrZk6YYaD2Vgh+V4TBBecQrbExYPl9/EfImubVcEdOdZCn3aNsoEFcycFi4q8Eh4pDXCWcj+TlPxFrRzhvE53mYrHURpN0Pq4lTCa9gugD3OOYwdXD+tWIcztaPazbBnIR3MKvNYBxhTvzs0xKRCS387ymaGNfEpHfpgeKJNiT0ngkrgerKGh95nMU3DS4xjRmMZ0+7oG8Af36CycLUeMTw1Dcr+RDGZpOoqKxYSlGPoh02Rxxx5N9vJxXOXhmMwppMM3c+5s/hb1THWXo1S/YMhNZaZiON3+xIELGjIXRzCvqQTtZU2Tk0sj7yehLffZunWx15lOwkrlBYDOklr1Xxwwt+pVYG7P3RUNsU0eWQZAeywmQcDEVuD1zTKyar9SUetmV/P+R+dnyRuPD0kn9OvKolGe1raL88VQA1p3sAbpELEm3xR8JfMCXeE9/QBA6xW4xFk4B2o7YfqXbZ2b07qaSdlASZc6uHKXF4oS+NJg+8xB4cTWIICiiRcuMr2XMALOxHoxnauAFwtM6aSkSpZoS3e1nlh0DMoVlvtSzMBd/xmw9erUMXm84wAv2s/JsYzTPvtB2mqMwvp9FWD0q4tPmbgd+d3/CLRicKXf+zJGUneK5oP6Df2gbFcSztqbn7Nd0q/iQb7Z+9aS7Fk4qpTdVkInzqkxwJHZxzp5+xdVlLusJsZk8oFTgrFxmuo27Ly1FwM7B6jpDFEGSyTzRCBKJ8CZzMAPePBflO6q+ADsVlwk/nmVCbymvm5HpZClJB3uoPvBx5+envqR5xdaqZ5hjPOtV6bQgRPAZyxCLkGpNAxOT6SR3x7cQRmLMjeGH0DXoiNKNa48NiBgu25+YVrsQxHxAGzXAbPcsQU1LXZv6cJD4MjW6aDNA/OoOLh2liihzgc1K/Ch3HzIlZLjUotWG3OI8NUHnxXswNBfm2wgtmYD+cEeA6Ax7VeBFT5bkr74d9kMG4c3kwIe4V3z6v8lyAJAw9cAJdy21OKWFjrsIk126GMN3Vmy2qgGun2Oa2P1eiPUsmGH0jw0NmRM4BO2YVqpJfaS9uZR7KHJoZK1ZDlWaOrGmy6ZZbsePYXmv9FU/mJKsocreUNaYTtjYfUAjEDgiMG1N9nDlz2ghFmh5nIQKsc17W7rbNmpTpBxFa+Jr8NxiWEV3pyF8X4vOMCffaY+zLk4CJkriDjstQWx5dwXvvSY9vAXFtUYcHmmScj2jrFluOplRD60FIdlM7G1fmM3/F9emLWc/rvi49cLJGwVn0maglP7fYRUpxPdQKZC0pV8Jir7TSiTWn3hnvR2K0gEgQ19Doe5aYe0NxUAjpW445qDmBKx913D5wmdQ9VZbtGGg1v2ZU2ILv8I1DOpJvUR0suPa/rBDH+PfWH1thaoYDjDeQakq1wlWX0nxfb96aGe1uXGyB8wp8NoEenmhI928BoyMahX3y3L0+2qUYZ1rUpl41SdKuIGDKaw0vGJuHi7koHkDvyrpwNZLlJtfpp3456aCvvVqx0ob6hvKwIo5dgvqYRgf7m0Mpb6AYuGh3CarEpYLT+YARC2RAGfS/BNtRV35RKbNqdu4jyii2yZFbOYd7lt1OQaotkvbvUt5G86H4oPyonSET24QJpMyGtt3XZmTF3Y2N7BsQFjJjSuG5FjHZh1Ds1lRyXMlbjXpVeIpcmKD19MEA/OChoOFozvcf19Ag+S2EeUmtWHq9fYDne5OmVE6p3s3amuXa6zVFiIaKTnlyl783D+waLmatBYFSpNUz+vvR7F5+iGwJZvDN31vzcbLNsaQPdTVd0PKO0ZjY/RZddeDspQNdq5VqJr/HBQtgqcIhzYo2vsPlI+QDN8nDzOsjuXea1qhK1QuxJPyZa1co8B+EqzJ+8yE3hVU3Nh5+ng5m95GbkcAcaaz5JZB5t7uh7Kjy6q3hvY8vZG4OAffCh1JHgawG1qKhDa0z7gRlR9gf3bEdUL1dLFpUXv2l6SWNcuuvtm5jLL+MSXfw71x1oSjdkE4T1ITCz2WoLQl5TbDP3iTURKq8/+ym2A7r1+xK6YQrfj8aS+s5uVcy82tLGyUaSvXuvzhN5APc3+b5plglh6UoNepCALZT+z+69MK1Tc/ZB/oiGpPF+ZYeOaoZnwmXyofXXrVf6MxhVvYX5HaabmvPQ5EH52h+nXbcpfzgPs9H30GKlgbqMN9rxfLSHXC67rhkiwWZQFxXoqUocXrtfAahFJzUy+Gma6R1tRGVbuclLx3M8I2sIxSBdFB5/2YT4uMkow1/3BR1JXoyckAUpS/BEcsQ+rTExcuClyDEsr1Jc57nBSxsWqSpw4gCYaDmSSsYTn+nzTb+UPoQaOxzEtjrGV3StlblPv87dILeizqm7bOQj5OFk4v6pOgbfYp1K9BAdQDUcuO0EAHBsxJEcCJqyhKsxzt0YtOJn/CfLBmVFK9CjKg1tfafX5u9nrlGP1mB/fKynMTdIkwpz6sY2ww2QWga3AcMIWtee7S7/FCDDG+EgOBZN6ArZbBHnbAZo25PgbenY2486gaP5mac8BP7/BAGK2EhSGuM5AxXzBAi2Qoou7A+E+c8A0oSgGRbTDuzw25CG4bemWJeqTcGiwTAd5/Wr5es4j/07M6D4BF+7eM2Ou8Wg+Lg7D5rZm4cOHneUaLd7fn1si2hdtktjhNqgpHH+jM1wdNtaN/8pyaP76ow5MwLENL4Q2m1gTCyCR8tYaDccAe29aP5JV7XQeWbVzjekwOz9jCM1DQODdfj/ptKrjPnOUEryyhiJuBfilUYJA1TyFNjlD70PTd/yeDISJUjUJ8QDyZc4T+9GeAuM+kzYWkLIdeLdQ0R1t33rRctlCWUxT1NX/Wrl1Az3XcH1+A20cLsGlP+miETkq7gIwm2AB6ivhCVTGp7c2itmD9J81Y9ma35IzqvKAggi8NQCNmibqFh/429AUHlfYbmbL6AYn0POFSpavBDs37ABjH0IufJWvUWxLRUZ9WHudtQ+c8L8vk0aLbhFh+nSGWukbW8L6Myr8r1K3AC1yNMViEPK97L2suzfX3CCT2OAMRUmsXvdXguRM5HEtmRc60bKQXV9bk7B9HJkpdk/S5vP3zGKq7hQkMIv2/EWtn5wjvtX/Cvkr6+cjGJsoVj+xYakCIxNNlZpRdg9EceP8TqeIxCsmKL93eTUELvqJSfuD/J5e4BWar8TprGVqLr6cgjSg6fgAZ7IqAyI9Wx8Z7FxLGU9NzNnH9a5aS4o38Rs+BpxQIz4CHf/0D1DnYHzswO3BSsFtCb+jpTLsuYa1ZlbVvBN7xIv3rV3DTLnLZ22ZgIwjqauB0PmqZn/VObsfWR8/ylyLvQeH8huWv9FA3wOr6ipPHJiZaC1FE8GcdaN2dAlwx09KvkBEzv/qhx8KAhJb0IpSQ0l9HJm5UvPKzgYYtHFB/Verxi9eZgVLqMxR1LoT+yKl7VQ1ygGgujtLyEC1Ca8N3OYfg+HE7IZ1AaXMv9ytFlsQeDvyY1rh2l/ECEaWTeKH7azbEgHDnIe5ozSrvwG+fJGU+JG4TpYKYge4io3p6WtFNkIQi96yfTPO6TDrOLXfGNFwJafn7bYkw4ObP/0d7pkG1hSvQPO7UfG4EXdHAEh3miwTK5j6Vs/ypqjQYOCoP/+1Xe5waBXuMYpF72HqtbwXZD57837qHnhtG0fWxJLlGx+fPTb8o3fm9uAStGfbdSe8e1cNsg3EaP3fbiz+NsVg0OsmpWqmp645MCwoT3J0teWTPQrMO3WymtXRNrv2QGFzSCZxe/x2PnqbRq8Pt2JFL5IP+C2kto7UTo6JlFFyge7DVIUSOGveTFro2ZjjhnoK7qxJs/9xwb6afaK2fvAY4aKqfZ1LdAH2q97b4d+T+6QTlugu0sg6KaAujnC4vm9RR0j1u17Pl4QC7qmSUE8P55XsMrUNnnlL6YwFMYF0MmcaAPqjTjj7jprEF8t3/PBdB7U31B804/ylZwy3PCPKFhUKIy1ze71hQT7bLtCyj00Q5SoV+cLyU6H+0asR5FOX2QNNVye61xZLrv+y47LSCm4w5xjmzYfn9z1ISgb8kqKyuAqcLPIS9faGp9f8BCSP3qIrBi0uIvrh9ZDg+AY3XbAmHKPdka03vf7g8ijTpcHWAUVHSnER227an8RgeLWstW+ImrMPFLSRJDZSsltdzLSqjTAt/dEY8l6rwe3aHF/T7KLdCawnxvDnHFEcDRfvBhsFpY6njV2F4VKoLVFv8+2riiMKA7pVM/e6lA9n2NRpH16Kv3aBoOc3weuUTArMkY8yoOZypznGMz8KiEVVPTxPrlbO/6ya6n0bO11n3rFWhfeh6Fe6ToLoeNX7o397ZV6hG1ffwfAh7Hy38xrbXqfP1RoAl0PDSva9GZ7g5HWUu55qwegKo81ksQbcfqz35FDr9AnfksoWColmvD9b044YYGUas7mvjM/mxFPsV6R45+a2ZSCbC4ymjx85V0KzedS41nLMaDCQQsftrRpgx5M98D1HWRpsUIeWvq7PIbmfim9khwZ1fTVYASEdpvkWZVWwXih2SRqxmuR848HA+4uuD9ugGhzNGvg4hcBW9Q33hCtO7MTNQnTmsyw/P3sygfM9w5II/9i8UWs/JAJAFsFtwCvIna/WzwZLO52fzRPjT5V3KZNbOixm/ykM/ujSLaqwApQRd+faa/Vbi5xcWFRMTb9x6zC9sIoSwzxG0a3BmGgBO4+dyDPK6fPqQSgoQUw1bVC9/zeVy8oZobzta+sTfIkZoBz7pCAt/eNVJWUjB2whv2zcVCZUFfH4L1tJp8B9lEm8DjM2XK0ln4eWBjiMVqUJhGKonbpJULulBJmhiB3wQXB1oKCjxAzPqKifzTRwL3+dvdLkdh6E9De3CwTzUawLJJa+6IEenzMamtooSkU5isZcY4QxMHmmWHnmr6lRdHjnVY5notkDErrl5Yi/YHbmPFQBBGZCDbmzjyDMJA4VVdRUQYVfKsnlx/4i7Mp9ZSmMBXxzcg+8YZ8ade4NFAWpfef/MmNQPkRMG0sjtrEoCJxgf73kxh4Mel9j0gIzIMwXxxoASsmh/hJTwPb0oYLRr4pK9uDm6Gy0ZcK8mdn1tNyXakw7Tr8ZpuRhKK+OKQE4AOJFV+TZRrRdBjyQnWwH5RfcOMtoMaytHuZFCcpAZXvw8vAFoK+gOTzeYEbHUqnIHro777rTYP8q6vkJ/x444Co9R7LYZXp1XgP3A33exFe7ziDdYsvM+FOfaz8HcO4bXDRgCMkJbol2LS6hFkxSFHYqkuaVNJlZ78/MTAS2mUlShk09BAASI30Nw5a43tXwa8DWzbybRfDOw4VjwBnJF9atfkDXVKM+Sm+8S1QMzAhukpPw16DCCkY3j3VHrr9TMgPxQb4oRQeZXjgCstOqhDybpsJAnALbm5KkUOzAJ9yX2zSDjtQuZNNumcTirBA6r9cr5mrX/5moN5VWVe28fjM9tnef7j1J/YAZnBwyOrwQkgfz4bYhvi9ehy8OcccyepZENlbQD/0FicqeEG3Kb3CHvMTq5Hw2AXjJ8v2W+cPHq5l527fB74jyONW3dKlaLw3ZLsKfq1Cj169ZsYUgy7UtEBam51s6XzzR7pu9zPpGs6tKvRllrzZURMdxQID3rDFWF8bstqd0tm0E8Egv3ZFVCwHPBdSbrd/aoWDSiY1MticztPeCkfCy4UG4MEeguE3hyHaJbibNqs128umWCaqUK0lUoKovEqLVutrlv3ITnKWEGwJVS/MwXULcnvBUI88EiV3hIIiFf3HpRz62euZk3MZEBP/oEGAuuixdnosltV3GdTKeEc7EeSTHNh3UnW7F853i54z0JNNqyys0lZqm+tKCjMUmHARgcuZA4hjAxsj7/I1fTXney4vrNx3HQFZJaKiDqRCy2tRWTkkBhA47bW6cIuPfak4HD7lcWe21I5jlTx1EjgYmjCPXJFawPn0iuFaM/xFum/zR6ZLySL2K9fKQCrMB36Vdz2y/HOWo+xRj261WeR4rcLhrUrEiNjL0SO4dLr+0vqlX4Fa2OdW16wtHQcdncP4i6ldSYCcaBy1GrYUaPkJ1IgG6f3UqtNbeeRnBaxadgS2kSFfY029I7+XRpRIvEXY6q9w3NAcA/SOHTgCm8uyk9kSKSbEQVlMt11UQUIiwOOhwrTiwCI6jMPzoWnvUe3qZOWBgHTibM0s3Ydfu7J3qgovUe+XNzzOrDQFFvqdEKIsYDE5t+uMn8z9SDtxR3kG/V24NGXpJlWzeB5otkqTwnX1GJjlsVL/GUoK3fS5NLIoGxOueATx9iJQ/f6FEzEotOxrJxGR/Vbj7EZXB1FHiXbQuS0Ee3mMQ8LDQvpat6E/eHPX5pPd/LXsigeR/kXu5dWUcuU2Hb9nj1rMdIXsfPwyPr+mGOAp0vxVt53ci053adx1bGoFfy9mGB9xDMfUl/YQN05JVGiIkl0TVy9ekgOolO5LWhR5h0++YrtGj73XzwLpfrCaH5IHBhTuU3ur41fZlw6ZKR9EWlYZO9gck5LLVyNmER1E3O0TsZnMM9y0p/QtLrSPQeWMlOjUfvY62AeWH8X1Ee6+aoJlXaYcWjmg8kge9XYnF2r2DHq4L4XkQUkwOB74AipNqTHTq7927ogbtYuR5lAE2S6H7D8lm+qVUcBhzjrQybkFLDsTNbj1xjTNirbxZ9GzBWzfZ5aghjFFJd1mDEkvTFFXZ9kabi2puBL5UcVEU9i7FewUkauIlbcwNSrVebGZ3CrpYtOgnwc9jNDhzxZnTZxEp+i8nMCvPozfhPhx0R7goXQK8RgG1w25ZaOuP8B+r01Z/Efj3H0LM6ur/zQfaifAbNzBQZgu7QzMPu6Njz+8yvkTsXguraQJ2nG4ETh+IksrixkNL7nNH9FJSev6r5rOXiMr3xP0+fmuFihlwq/MN5nCmMgEj7Of+byfe0HS4YWqQRk6cJXNOveDE/itA3SC/WenmPAgIVVHTh1mecjPafK2DIYe6LPDvXrD1r8dn80unL8+jE6LrimtPcVhB64301ovb3PADJePuady9ZWXt9rnl1H5OjBM3ACgwQJ4Rwpplu7yiX8rqCH+bx68Wz1D6AIgfH+b4KLPAY68L5EXAjNvIpc5mm5d0NwzIRSiSsBVaO5ae1RLNAI0gUhgqXxvmVsdC11wq4zE4u+p/0quOG5Vhv/dmo9KLSPaaROcxNw+DjenEtBIyvd+uMJ+bvFsbh8fOBHFfe262Y7V4QcyysehkPjzvf+nnBAECF5sKIaK6N0i92loyOFevfOZT+1kKCJLzgxjrdR5AML+q2NSIeuu0EVAdALDxvTdMOyVhx5or+orDtDHHoaCiBoI6Y4+wJPjtFxhfZKDmhPde9+fc7fQmsOB/0qTsMbjHQJKLX9ZOyeWHQxysaTXrPAY2IJXKi+4hSKUXquyiZZwF8k3uISbhYtagPZTI9JjsrPq5jQNsF8RcxKEWN+BS/ytYULVjNroxcyTLCp5WVN0JpOfTjRORRkPJBxfXeF7uqM8+89t2uGRaoyb2vPRzVJq/QBhEuVw1jYeR26qlgResv76kvw+d6BKqBvcFCQysISy/a8g3WtJDuNtRAWcsUkuVCN7xifZsWb41OaNbu44VtqYbwF2HxI549cv2hO+cgYjUMpC+w44hKEjqlmfVd5qqfpf9aeiqrX+muMq34cWTgU3Ef2Bsa1PTGZfz2dyoG/fzE0CuHSIUTZe/1l/od4xYAtrjQxkMjW38MR9UV+CaeOrggkZJpHGih/pBKdVH3HrA9CYb9ACFkduhFaIKHLYH+sqy9WEnRxl0x6y4HI23dh3lJN1s7Z0s/KwS7m565eYriqb+GH3aZgyLlBawixOsmmz2y3eV/+PyFln+xGyTZ+1JdEcL1Buboe/mSWtRaayJrL2w2QvqwOzJwNKof5+Gaxixn+jxVAxAyKEggQbxSeuIAXip27YqdTh9vYVGOUk0zjm3AEjm8TNpifN0nu2ph5JDTLtM2MmTm92NbXwX1mt8aXc5A5cXXmkED9ARupnsXg//qNiTNJI0FGph54z+kGyaIfdFW5zw645+4vvTm0seE04/LMj2AE784RooMmJsGERD0GWAXvMmwsp15PZqkxPKgXqSolCbqtB1nUchKRVUwfFy4dgcSKk/BwQlgIgeVZUveJYJX4louj0sPYLa621utMI76qmBk+cqYRa3m20DiPSvaLdecEVv55PRMULIQ1fCOAB5PVuwmoHuqI37NqwKw5mowBeHItRLY87alEsNyQoO3yuoVMtFyTfsZl8KMm+J3STeuv8B9Vrw9DGt8kaNZDRG8vsSpI30fKdJlDbcoJpI+mnfMBBB4i1eR/VQUwYms3GVGhvTo7N0/7wIU1fyT1rWbaGIqUBmAu4EXC9dFZmnKBtz2SJ5MMExI/qxGegN7vG3rpmAhLuKy6EQq54C9wcb4CrdSWsPmIHGcw0A338wwwT3S7BwxCExuVe1K3IE3ojCCuezGgP+A4pr+Ys/0HdHQv4LOwcaGBhBKCQPXzIxd+zCsybC8n6HrMmdwR7rjF+1mpeLmOSjZ15DQHVUMsGk+448NL0ChFWH/82MBaLq0AuX90dn4kflGZgbTLI0YPlBdr8NuAjm28TKy6kl6Ydjn9TPZOMmJoFRMyEEb0D7heuTywI6mIPQWlvpu+US37PZy6euLLS+RNmNZV5dTQ8zQa2xvwiC//0qsZXv6KIMsSkh+7F0SUWE+fB2rHMZ2v7lpnpwgp/dZ2uVtjzoiNc1QrOUF4ce66nzlIOR53HQif1kn0Gi5SBljQznE0SoHx4twHJdOZ40FPgIUdQ5IHbWmJr/ZZgSbyNTUAgu8+VNkHyxroSTPWvZrl9Lk2Z2qHoswVk9TLJNttR0eOFQxVHD2N7yEx7JILp+rEF6imtqlg43T9o2brPyyGIzEqH4Nbb/NW9msOqw3JG+zEzqfGcd4rUBxKSLmMnj+KAaOovnZGxJ0dOVz4SQJZvLh44O1M2MSxlfsHVqTKu0yugENosOOINiOU4se7gzbnxvRHerA4mn9cAj1H5s+72gVMgv55md+Sp/uhEpzUBWIfl04UrDGqesFoUVm5SyadzjgaUY4YjgRwY1FLGpJ+vWXn1Rspc90/1PrCNJOGh0/EjpfpaU+7ws+k68XxBe0/qkWg/2c0ARI3VI57ZYjdtFAngJUiwvLeAnVbthI4iGVtlE6SSq9mH3l5fa8u8Qg7t60gPuepS5XxYJ0UrxBCYEe8Alnk0V3gEKEW1C+5CjPEXgd8dNv25NO1D3ERIkStGVfukT2eERaJew86U1bZ9xCTjG5Rgbna0gXZuGbwa+Y8HoeA9rWFdWSJ50DYGnpCILic4xiDvuPX+a3AK+WRO6+NbHL/T0rgnkppVHTdaFi0TcnAAoi8x+IL9swsdB+2+8xFy5W3N7l9X/PcNncmj+gWIu+PkTCyaXA5YCXdTo2OAVip/geeuZj+6DlxKac0hnCxT1EutW+LVV2skS5apWMGK0ohEVS8UHhkLTR1HFOu5Yqis9aaK6iVx3w4T/epxNrewNQXKWw0JoZIMHM1nTHxjmrvhYmy4TTwhVHhK1HQKVwGf7j5Th3sUUO1NIyOfmeHb96dWaAeiIBY9FHZs5+ee+xeOypBKnXgojVOj5kkf/eXzqoB0nlYlnqrnUJvPgBEZc+aG8OCNQHbXtubaZzKUX9UA1EuotHqnZHyuTepWMuMg6tyX76A0ENGYiGhBVWJEoDz4q6tXnrwJxjUypMNy8tXcupykpvtbHQIaqqdItp43w9NCyqX9DcKZYa6j3M0BW4yOue/A76noiGGtPP9oCXZL+WbS2uyU6PYYd/LJJR++9JvdZ14BndTeCFcy6NlBHtZrL7dtb+Ra5pHwW4j8f+OlvFQuos8hfypBLM5bWaoTFmI1XvCCgh15H02flakROzwpGE57bqBlB2VqhpigpOMGEd4RhAJ2LPArjwd346ql9G/bUtOhmBTGjuoMdB9+qtmnsVCivgbYFsQF2ieQi6/TicBaCPgpQcSP8jG7ecWErhLcdNPr472BJMG+XvTYVzezCjBEaXJCO2T0xlKo9rBwcZYqVRcN7TIaxU34IBKClxI1SpMcDe9P5wL6iFdhwyDBH5ywqOdi/Ondd3OSO5t5DnJYXJwVwRiKkdjLzJkSIybZBlAALVLBCEFjHniVpzIPBdANaS0siWjaxmLmCsJ+2kakLIkpXfdKyrUkR8hr86qOR8hqy039lVlB6Y2XeP6uOPyKtCpIL7dsQviJZ3RW8Wpx1COeWCBrq8oFUwCjjL1WF/MRjalNs/p/nDrtRxlJmFdSchqYK6n3OvjU+KDkeurU54Iv9lWyRV79bU/SptiqGd1VCo2WMa/5BaJvwFAB0A9FKS6KGTAsRG0/lLv/BH0n2abpokeqfBTmZlva25B4uZ48myGkNmd/OAO9mUdPH7447ds0sS1idwtSiqDzVZ4i3KBxgtBQintOroxJZSwquQCvSneA1CKniioWiLCH/9qk94I/ZW5mSJsVpH3DrmEzjeTW5qtKiqwaYXnZ7IO39aPLXymJMF+7A2r0ecqwO/s2pur/cl087ZGWSA9cSObWnM18/kIRqJykQoWZBgNvvAro1pDbq7Ny4NZ+dKwv5GB/Di2dzU4gTJ06wbISm6jugvWzm7dOe31DYszEaK29BBZZzUapOju6D7LkZ/VuxxY2DWnMlVrQpqMP4ENY9BTKtqPE4v6TC76ivJSWvx9y9qnm8rLJRKFudj1AA0VrLdD5/+/mq+ct29jCQtscVqYjCJNR07kl2mEtn1TNVzjs5vtF1FomRZUzQNPaKe+boB9zvdgMKncMLf8CSVq7wiaq+C1M7cu++G4ll8mF4UQy8X8ZJ6OdhTMzJa+38VVF4CviuChgc4d73FywMyH9UEIxCP1D4ff7T274C8XvJCTf+bdllp3/13J1Xhpxg0k587HSOkSB2RQFhAcWaBaDGBv8/yB22y85wHljFbGPlMMw4nF3qtFgh050vpeaWCzxFz+qYlZa3ubLgcas7j5IwPZ2BOmWFTh49s7LJR1YLpjM6/7/9gF/6DFRbkbSKLPVlv76luCiagp29yIFdCOqbTD+WgqCEvLOc9e34gD+FLUFeHt9aS12Fk9Yg/igHX1hZS2nvZFDSge/LFlcgKMHgfU3LXxx5UHMMraCsumC1Ks6QiQ1iUDxr0j4LCbGhxitQPH4e+su5492zdix21H3GaxrcZzHpurYeK+nWeqEEVELAZ+t8GyeZw1cs42UTN1pMT2N2G7w/Bt/m3mw6Y9ba2fsy3TXbrkyKvlqraLKReBD++vNCRSz3ta7IB9SyCNFVdpmUJB1LAHgARCvAeAIoDHWfHLQZYB22jYwtxDKREer1jsc0ZpW6YSubFeZe7NUcO1CB5T6+srVF9UeHbonDdiayJ8EWJxiJ3DOmJ5OCpuW/iOeP8wOZlNxMLrmNdMTW2Cthaww2LUQcb0R6ZM4NFTwKNZZr2ut45h4F4OF0uZI+daMyK+EXp9zztlHUtMX3E/lE6aaYRi0Ero7n4maogll7zljVkTbLRPZlR37xX6C7un7B0gr8fWM1l6vX3ik2HcOWAoeIWUjDxkGfkT7W9mb+3ku5eqWuogaTOx9HScCgllAwRUvWP+OBgim4fGdiG/yrwYgZ41/ZGaX5Otj/SmoH4wvsWVljMdLApp6QWjb4xD0r/31c+6ROb2F5vwF1xXtSPbmy062XB0mPgCq+Jd+mUYTakvGQsz+wNITOILbZF6GbjkntVSUKcoQYiVtd6xtQjlvKWLohY8lLhGOolDtDRYJ4O9hrdiijnO/jA4skmUqxI8rqVbuIDfWWYOXHD+xy9pLhnFILKWbzUBcW0hY9ZIHknHPvlvGWH1f17N8fF8by3ESgAF9avDHMXZWpVNUF64SD/GsRiBmyLjvppACkqAAi2fE9xVt9OtMO9rXgRzDkH1Ras8ezuzGJU6giZXgb4ehl3pFY9wLYQj5ROn8qR2TfFVuDVKnoXIpwgLOHZQ7Y2GqRuubieVUxkPtHGnTEn0YJ1wGf/zCNUxPnIyJHpyQTcTZomwJW4Wd2a2i4kstZoRYlkSJPrNfUU7JEefpZbbXgTsqXB8y8CRUMsZ3Cc8tOJq8iyZPgj3h6J84YKuvE7KVacOutIrYtlQBWSGIDvAFOGuUI3Pp5ryf+PYUx3fVT7qWXbAGzm0tC1OX5hVnvSSmJdu1qfyTsp24w9oSR9m7ouyLkFQGhDni6H3244ikK6EoH2YwGlni10KVXfTKWyuRADJiGHVdwiSDeMXZ9F06wTfmDFaiaIv9vtQ0LJrjg2gftahx7LPun9XVbjaB5eFgkudpiqD9u3XJQwOz1HC/6ACPbjqyINF1xrLm7UtPmuZ2gRPshqzO8lHjkOZlTP6gWzh4RGE9QxAlDoPxsXP+QScFHmLmN9A2fn5g4XY8QYnbIP2jyXBk3DNb0tZAvilu48kC3qBEbMEaRhyAYaYCtGDDB/6r39Q4lM4/JDo5MmMbX3iciA+ZVQHbwv4doBoSGRYQC79anS81Osp38qaxmpQiRFWUhosMkx/07tvag7q6++xH5jLAcozdU0efmkOzjN873Nn3lHcveb8w5+8n/fo/xk0bzD3PvIaxK4cApCgE5eWM7Gj9vV0MeRjHUXFZBfAEvgkJFjvfqnzB3h4EQQkUmE/iQUkjK0xeqi4ff6Tz5IuC5nDcOeyuoxeqntX84AD7NerCskVT8/vo+68jh17Vzubv42+9efVkRtVv3ahR1+EI/AxCJPzXH/ihQ3oNxnCCDI51KY7MuvjxmsK1AaX8Rzr9W57E2Ni3S89iMnj7AqRdDtKMPJH1/Q6mCAc23hkoI5E5ebMfqs2bu33ycq+NrfPGoGZfMqRJTImMSTYhGKpn2IUmbIDtbt0/yWOi01Wkm5c6nvIZP2KQSkc2ho2nTWAC6GKH5dSj/DRvHCh3Brmj7ZEq/AjWwFiSRGXA73BTCR9LBt2yK+8a5guM3t1ZU7U+hkbaflq4uSqVHAOmRjdEE/KvWGeAdbFYOzJFoTCu9wlyiNRG5fTxuLmLh6Ewft6EGvkhTFE9kIzp8luaiOVLicbWTreBVnM926sAMd0hysNZCt10bVwbkNZ3mK2UqdnL6aOwh6ZXkcfFfG0wqIOfzIeJCRljE4QIXXH2VMXxzt3YJDDLIsk+JWA9bCt5Vc1UXRZJ083iN6GAY8LKMvtl/KUgiJjS9+Qyl9qbXc44EuGkGCS9byIU8iTBCw6QkF4czB1clIHJm1CMp5q4WgFzQNBCl5mBXDN0rr0L9XtTcUWW/+3aidezQTbJHAP1gVhHxVIowtH4klYMmOhCCEcgbfxFUCjmzCNwn5gNcIrox6xx2jupBtv6jsWMTqFy//bNDOR6NAF74kZEFJsX6465QlNHSB6Odxn3omaGNUo2kR7nvJMS7lGyTQWNDR2ai5yV6fuXt85kc1aiEyI/Fvmh02rcmfC0FaJOrj62jmI2cqXRvCeecDJ+IyI+InXR+MLUERHZBN6k7+1X4Z34ZcOV+m7uBA7alc+vQ/3xWzSkbYdixMxkuuUiXjp7IRN7xU4OLZ3A1lUfA1+PtytDpLmUi8biWHP67VLKuTpR5/FZoU1eauRXeE7XekkY7PqlWhqskFO4jXUFm3yu6iBEPpNQXCozHNJIYpO4uU9aW81wU1/q8QMzPTFJ1mi+Yn8u+0iVU2Zom3fWPMBPLYjmq1dINpZyWrX/93ELGze2J/NnTD8arNO5ibeTKcRj22VcbLt6i4kP7y9grZ+DhF00n2gvVJrbbkz2mDYJxhM/D3C1dVVllr4wb2Ch2StrroQI5wa9LHnK4IhJH8l6HESjANj7P0+z/JRnY9fCMoraHmo+/qbIsENPeMYgnmcsq9a396ChQP6+y8N8XKGWlVwmOolR+9kBY0ic01l3HqesdBSEagpo7PjpiJUBeQ+hgm7dkj2JwjTkTXXo2hHxe7I/9eyeb7fqUziCLSWy6+D05i7tl+Blb6T3EyI8rs135deDeo+43L6aOJKJZ28Y0V8v5RX94t0OyMfyGma8q85MbooZE1rB8bACv7kCfEzqPnW6YldQDzUcIImum+dXSM5es+sWDpg8/pSGqqKrggDWVvZBvpocs6wJf9GEXYNZ/pUaMlZaLpjV8D5+3ODbQSXNjFAIC76etJaEC0ycU2boFwxTfn2Mcq221qFdsauYoVKptl/c+F4hVTZzmmdjfsRuq8FhRAcxaq8hzBLc99uthwmpm+WXhG73uFJv4G0IDPtN+CcEjvEKpygCdY/hylqnvopvE/gKVYC0hVoeOQD+xkw5j72fNC+/Ml8QfGQe3A+By5iKiMUrOueYcszr8O7lkluVSoEortUSDqXJAo+5a+9Xcrg7wr/ypxft0OHU3eoTnhX9mGW7NvrkyIgx7QIODD2zV+8Gy31b+TTS7cLigG5Khz7TQr74CEFSsOwylitrCxkJHIMADstGVJV6dfLW/wuWYB5ByqUCYferuNAyFRrNeiNvRaWgiOcpbAidDcwSEJxxY2YP4tdyolnE2vg/IXN/gRhQ6gh0Hh6yp4nRvIalSv3h59nPQdj9sn2dfk6NU+6NFU/PkSKnlpxaV/mZqOcmTl8GC7/xW5JL9la4Dg5hdbq5E7CJRkpJwjM9l2B5lfDhnnpzXbXgzFhEC0IG7FcchTYaJKXorLZf3FEkFibRbCxjAKVsH46Lacb+tQlKJeSP6OTSv3jBXI3OTbykhD4rosji8jatJa+QjMRYp00E+/+Jy4iWJ2l9f/BkZC3UrxbGthtGZfsVXT+mycaVcjNxvvZXpNSIBGwmK+BKGUJeo9kjhYhR0Kith+0haLrLzhvui+pUPpvFNz393HAoO16pHlAiO89vcGur/iqqQsOGTTvh2j8DQDoi0/R4SqMfNpUIaEBrFsne//Hjz4asODUATghKyV+5xjsfGC2pMnBhf7MI/RmBIoqziKSoNRTKczM9sfXhsIOgNiTBHnlVLNpNdGfGglyN0avRNkTzJkaa3AC748D0NkmqCgu97mIj2e0YYRUT32/wSSx87NOMQ4tGD2bRFEp5flDUP5ACIaqhShM437+rVPbv/tMJ2UOUirHs/H1XO7mGhOh4nv1B4WU25MvsLFZsYxwoUcW2L8hlkyGqS1pLg83CUUoCrw6G8WWACtNukkQiVkkpsoigl6nMICFNEhcY2afQsghGSXDR/FCDsmTXCmjh2uBnzClmlXY6AJfISplBitEhyUKpRXHKcbP/DMXYZOVro6MhTmvprCTCT4XeIvvIgJ5s/S/yatSzEWOoSL7D4o2NXQQsu4xN2J1ZnRr21DwByt1zxixaIGefAWQC0sEwz6dN3qCVXKkLk24L5hpWy/Hrwq/xHgVnLTPJqab1+8eHJZGCQkQNMqzPrMu7gnDmH0XEtv1ckbUwUS3ae80XxAHHuYtr4HfdYdv9UtpewxGiWpIxiIZcRlPouh3R72vDZnFC063+qpYcTIfXczPgR3dShT7iqX6o02kuvbH3+6MdVv5UTRLXJD8IfweNWll59xpxUawMFIEiwnC7aKkldvLuUNEIjZE545h3kxhuX4LxKMD9PZrpOrchpoKl3lWpwt6F0T95j79d5TxE0E21Qw5zTIRGT2SPi1H/irrg/9dwFb6ccdLOW4ItpVy1YPp0yvAYkxpqRniE24kwSuIHZjdCmefglZ5/N5SoChnbCwzopnEN0EbQ9Z2pw/1qpR3tAwcyC2SsQYTjVWtVFrPw1TOWxJReW9VkRW9JqMjQQcwYBWYl0kyslOTjfCeh5xjJ1W+7jVsLgfmyfr+iAPn/1Y1bjPETxiFkB1fadcwUYdvA6zS3kgcQXdEYMrvNl3fmIxCxpfTHjzlTnB9S7ilaGZMUiiRTnzaizeCyyhtUebY8b2idYcN+24fM2JzLCYA0Lvk9lXAay9U5OrdEs/2Lh6wuY+2dC58z7mN2T3YQ2knXnAVtOVM3HcuSX3ZDAfHVJsqSs3mLmql7TfrMYsd/eqX19Jupfc420g0LoqNq4h7YtgNz/MKMOkRP5W2i4GalfagfL35CIa7okGQyXz0cGYoif1rU9kAIpYljTLPDRJHGDw5RaxttjUWlEkHJu3cXGC6H58d6A1YvLiWcCcVvVebnimRO7Pqm79qpyccG/emAvK/uti72M0MeF759BfCO/6+cKzX8CBfzclUiLPHlfkmUX2sDqzo6pD4y+f245gMYzR1nnc0J9lziJaH8lclDJtr75Cn4qzmeYY0X/7boGeugGaEzFPjieVxfPf0gA4UMdy+3f8vQZyggzHVW5mcurQtJ+DwueD7JhigtZGH8hPdM/7/NavjS/qDZuAH9oqJ2EP6J0Emxjqg+LgjPIch/uxp6ushxfql56dwaHqAw62dxs7ndmKE5Q5kW0E0W3apwpz/9GIw7V2LwUuXeCCPaRKBui3y/4hpGfYQrRBv+QghEnzCgIiI65APzitG+QLmr8sB/mWmPKgVWUXYd2t6Ut0xmCxwToqQcZgNjarjmiXBNUkGKIK9Gz+S5rejk58nCYqKI2khYbnNRF6sQLjHmwkZQ3vi3J7UrWa9K9o59xlyPkmsgi4nGSaBVMkT+t2invmiBXbuu60l3BKqlXK/F5bsM3iwcVKeoguFKYBXfqou7L/i8fp3olN8LruD09lz1mY7LuBh2gUee2NbG0C/WF4d97Ezpb2QQxyRtIaT+avl61GZ01H+hsgVXKjd+5rr4bopbtvUYIfMax0YpOZw66nZ+QD2tlxY70Pf5ko5xW7e9rXhKdWu8uznwOyOXY5Kbqw3J2FWBcqbzob3RQdGe4VFBpj+ohv4rvO8UJL4ei8VjZjR1isiVNtir59UNBYBiRenvsBhIkf48DuKMv+dMj4LKyc3P1Cx4ZNIx36TtaDaVOPnhSrfhBETsBX0WXqMFOCS0kboZ2X3c1jEuraI/dr90hGIeBhTd4DZ5l6RX32sKYQf4sTTfTS78/mbFtXcpGIjAbJnPEq0uuj/yo4Ue6vQQrwmgF1N/7aqeNWMS5U8W+5TD6NbkUk9/aVH807rZ2hu1tkKMdB8IJlTHE0v4nRkajZN0yr0U/JrNqCdM9g9Yn+LAUSO9Yj/UJ0sBqu6qZ59x3bFU0WyeYqmSTvPb00273uVN3+Zim28n0a/Ukn1SZc0gzv3gOhdIHCaKJ7o+9gm2lmDy6sXoYMkJNI3HJzSJZfJ4CggH2Efkn1Gzbda5qGRjYM+IOsbbo+BgNKi0Sb2eL0/sxIooZjdYTwfbFYFL3kg15yBS49qQbTUwwM0PGrSZTXjx5l3koAQjv/8m37CtFAoV6TUB5fQjg7AhjdWCHwXtbBAkBLJlescqa+u5vM3enmJnKYfHd5pVIiY+xTYKRWq3qc2pdRuorUEUbULJPfO5P6+X+86VBJDK1Hem5G3tkO81uriSLsTSBe/IrGsiYeVNho3QUAyX9v5jnyXUc5Ry5GWYxfm4ILDnGZQrIDkse4c7AP2QjU/MbYiTnFVrTAtTTEev9rBOL3rZuFI0+FAFHqMYnpY1LEbFm3KN0SxlbXi8TjBQ9TAE+sthcOh65FlLThtrSXsCR58bIikxJm53Ymruw0yIlF6XHstD2G7HiFih0S4MlhbttpwTsdXU4md26rme0xbmAWWAyGoB+9uKwhWnmVawIcQozRVXv5u5+axuiNPEH1Pvto7tHiIv1s1Kom6qP4Z0e/qV20zFlq2sL9t9/CZn7e/aKuwhxD0MotpSUAu3f4P+TJRgahFDk1zqHDLysdKzj3m+RMLtu4dmeW+GiWk6kzceJqo+wVVwH/4zzUtGEp/ReM9mNM3WmpWImsbmGU23GfxLBwajuDg4m0oFmbtsr/bJZBWmNVvq6/ydY6Zh3FnUSqwMDcHQ4WRLN+mrZPuDdUUMm37/3Ikh4NFf0uOLakq/SIZMNbE3BCvS5vrV72VuesYl4jb0zp+B0hl41C47noUtIYMwZghuOOMLQT55dnqm/Z61ABHyKswoCbRJEQjWA5dzyHH6D5bMfC8ur5yArcbHE2V/Fpiz5VocMjyPjJcqO2r1nSZIrDAWmnbHYmDm9aWNMawk2BHurvSTit1l/GiF3xDEYT4IaAx9K5YsmiwoUEEt+TGb/8FijrEDrLBP4fKilc2STcumC6NSM5iOwIp5iblUw1R9Fz8Onxalns9igL3AO/V98g6gsdvirWAA30jP/cJzTSTnakO2EtVXauX5hEDXPrnNwbfC3nWeZJa7fltQEeiGupuCRUw97sDxrJ9gO0RlrgCZU7rCSzzWW8Ji0scnDmjXgkpkLTDDqE+XtWhKwC1AjPPG36FEJrDuN5iWIjGZ5wty/jhz4eJ2jV/uLMSwT7XFAujTBbV2/LoYCbvRFQwQOeXlB9oJ2ghK1WMqnD8q6Oi18N2LscfZvoaS5pWEHHVLm4HSHhdvw68BSD+JfD0+i6SG6ZDEeC1FxbKZiCgtr+kCO9LZe99FrGLWPtz4GMSJVvE+7HClfxKKFmYtjpqpEeLgl0iXwBBwU/DqnsbnFWvyDb4ChJeKkj+V51oZCe2YlVFxhRbWOqc2CiGTRZ5M0r8uchiB0oK+b9CDtJM8vwHLeLbgQj0F2EXbDYbyGa1BS5QFg+Ex3U63G17cCFp46wQv62dfsHuQzR0EzVgES9/By1VFxyEEac1qPU5/TuKBG2A8VahsCYJ6dWhHLLlm88LBS0ry0Zeugrca84LMA5MpsyFxyJdx2XxdCIcyz+S4QosTu6ARemXBlQJztQml7ZvWfSTp38dhOhvjIAUKKL2d8EDnDwbewWY8OZxyhIXj0nKYX+yDeRXaNDh5gyDb9dFELljLzHUl8s5rDg1mY5TlFHRw8M8MYt0Xivg0PYdbWKCekTcKGMvEOl7jzD/IPm10pMses0OsNluvpJwRzrBL2RFroRLdbdegppE44perj1yKbGKb1/ZnX+6jzPPToajyoPV2/0BlDdsZyxqdZ2S/rdtwldfZc+HQ7hQvCrdfshlmgfzSCDxdnpr4hc5WWGjnWld79iKuLS/fusdpMO41xNJsueXj3p0y41KyXNZ333ipZNJxz4HdGSkkvufVFSsS5Q2EUUvo8C1LmZ+zX7N+Aha7N91ja5FBGZWlOJRS6ZIRmRLbkq0Q+7JmpE/3wC4us+9kymfuo/jwFWqnOPe1UPQrmeRCQ1BiJpmcVvxVoB69T1VebnIYnd99st5SZzCQT8DgFm9JtlFbluHF80XX3hiwFB1Rb3A66ygrFE5B+j7+g6UmQIpitdvhm2NQ91P7Ir8l0gTIBITKr1MeDraJ47UYw0ivPrip3PvYzsMPjLfDHo06MBFTmU7LP0U8h8Iat0FoWrDTxzXHxpYq0sV1MhLZQdxNlQscmjIfsaEZk8eB6z4BGgyyrnGwtimEYPM+2XkKEUyQSHY2OZgRlAPCfUpfqgqPXX8Aoi6yJ+vUlmRz6KRBnMbdIQHwL+lgM/H8Qv6qg5gb+VrQJT4+Qzt+aCVo96N4+7ONfb3H1+9l2Ygalv5BqqDVVFeKJ3jHytAKbGQc2fxVH9j+McErnnTwKhjy9wmoIHvkg7k8EyV2J7SpLT86s0e3ANzP303Bker4dD1zy6gLGc6rxXpCAeTf9XyHnT0Qrfo4SqHcxLNrsL30W6ovGSxD2g15Wte/k9OEo1TBkxuvTH85vprYh/6rV6jbzZq8EfdMQwMYHxAPbPlARF4SCqYwdH5JmpYU/Jrn23nh2upa3Ltfi+ZZ97t1gTsf3Q8Vz8exSwrBlY7qiMXO+znBaVsUar7mFcAlR0fRFEl9ADY86AEtHOestZUyK4mTOb0uVKSbR2b6Ajx786lFJ2W6q6RLp6Gl61rUd4UCOUJEHsENy2EBUv7Tqd+L4fWFq6an7uhodPoBHQU+K7YkLActPCm3bOTUB0CFyL8Qg1wvBxQkHEwK3abmZs9Ea5wOE9LYj/VJQXSEhACDBQ8RlAwV9sNuAU/qfsvOHrs91QA+4oZdHbXgRvB0jLMTAjrU+R9Xv96MVETc0uOClJ+bfQJbZT1DLB1PVq2/Dvlm768BeAs4ELx2IZV65+FLNYWnqlybBAdE8Hlim2A1q4c+o4YrYyM/QEJiywOIyT9bvBlevav5a+01c6MJql3v9iO/jFcMstXu+7SAYb1Czuby+RFF+uCcd70l5a+mtKi4H7JRAM6lsUCb4HOAaQSia0TgGyHQFd8CYJh3QgyPOIV3t8gdT5hqSY346Z0Vfbf/VP/HkZQNsXTfzdkahjKreI17qJNnEJEQd4Y65oy8/slO7c8jCC5ShyW5ZY3NjtX6Q1EyajK1PPlFAmmR3pmUoz/COE3ddWrrGiYxggrU0d3NWaF+Dk1E1QCUNurhML9QdO4/XhNtvYZHopvJajBh4vPdU4YkVfz1BsBqrFb3E+Qr5UN+j0k9oxe2zhqvQPW84Rgu7PZwBXc6kxTLr4EOljwqoH55KVQ90r2ZJ8pyx2IuisxthtvNK8Piwg5ldaXGPsY5kbAjY1YJambcHF9kA2MdE1BP4/o31CIXQOG3wAY5wbesxFgI6dKGhzaqejFzYxbe31xqZe/hXR2qkC7ZeuZZ1IEx92acldvXNIICIUUL+sNmsifAbSrTVfLOSSFs2mzrKyBUn4C9it2AMbT7xmBSGVbvrFeGRMBWO128TnP48Zj4vwPG2VFSnWLJlQ47HlhBtyRI53N5WxRsvPLXBgTlSc9YyGPSJyefMj2zmckjQdZ+GYiq+3TZdpT+xQgAVdKeU7pnWotD1KdjslpDYj7F9cxQgz1qLrwxcJdcM/ilsfuGIA3M37yKPZp+pp5Swa5Uh0JYWBLJ7faW1PitpQmHPmb9C+ezhenL4yX6TBZfuEwtk6edCuJVSBm0r7vufRUA5HyDt6F7N3ouu3+BIJDHfUmhSCZPXtt2h6ykAe5BuQUQH149c8Aye41qigibXXyAwvJXmWdHBycl0B1E5PF3ZAVfuWH4Yc2cRzVLUglryOWy4fekQwT/28YR4RYtqOQjjUMedyo7+I6dZVUxNxUkySekDnkv7zEaXcRiARc4srvYt+FqUqXycrCSJ3uxzUbxxrGVm4+rBUM03yWHm23YgMiC8Qeb/Q7CtNSLu8h7rCt9spwEIn1NBOTN6WYQ0rgXLjgWqGrtSoFrXUlH1r72uJGFBerKJ2Vjj29OZVxOZZOY0GaY24zaRCVqwf/EiB1uaoGAHu6A/Lf9joh1XlOgFow9L8U9GkJEYjaaN3ZuKAOyiGDVZ+tjdEFcKlSQMDkdgkUH9/WaZeDcLQ6OjQZpHi022HVUl+YC1yNXP+IZOhQ5StmFDZ5rTaxgzMSKpXRMrJl/Lvd1CGE0+E4/bZDHawYSejDLYImk2D0E7rvmMp7oi2vmIEGF0n0lrKIQR38phnk+KPgvpMF+VYTx9eJmEMgel8LROvpaowhdO0cQ4YKUQNOBIem55tmB84UR4BOGLRmtNPJhGAF3ipS1elEhkMTbnA8YdrfHUW9GlUzjPsG9YxqdSymdi+kqI9Gzvv0UmKpRyf9ZbCZAxFvefTM3s7qYcr7O7fP79Uff0KCnHVngwsXCB80eaNAJgj1a4c+sicTxTEjpjU7ry3RMMpu/xHg13WTKY5OBq4fSn+Gom5UbGwQJKwNgRT+VgVViYBR4kynbxADeLAgNtlq9cjHdLMSVeoqt51SgckkX54IMgtQSr9hzSZnh+6XNET1dVOXJgxCeGu6UYVXRwQhCQKhJpGok1fz1490ZyViWwhZeM2DAybSCLVQ1/56zwZJIP50jQG/wL5uEd0TDmlx1PmdF4iRU1thvjSwjrJJuG4e/MLvbZIDdCqFBcAiVrGua13rZWjSD68Z9Qe5aRDoeLjuG3UWyTjhISYGDJMwzISsfaF7A2IsVTnvOxK4D68BAS/IHQuHjJRCCoBnBelC9Qeo9frTSKJK5nZHpMgSo1qpc6GlELaP22A37ksGG5WnvbAvN1XZdq2XFtEN676xSbWQgmWBzjH0eVUB9PXYXm0q/t3bBYJkO/EwuL19JlwknPDDT/dIH/D0IsjCAzRuqWdkahVuq/eQH3CAWH/26wWvlJmK9/2IrH+9ZJ9dUG1uUd/H7KOqtIPslBMZO94hK9s0ztIUcOJ/0TXhxrf5WTWjGvMFxZDoenk0W3nkvsYPag/iAQo5XLx5PokDFR/n+jIxV2doXhoiine3gearxuk/mgroqrt6N/6T5sfvikrdvaHAzAbR+F+uxcSVMhj65YmKS6Apykao6ldY5mG33V2LLdqyYV3PpOF+/XiEn6KEEx9Imv5a/nXRYf8hEMYMKtmExGzEAtGdyQmc6UovxTfinpsw+xpXAWHuRZ+oqsyqktBgt2ALEzoXwXFKw3lMh8IAMT92T5r+2Tfpo0s+ybNvyvBUB549h8Fa9Q3qwRN1cKgMsCnPVcNwlAsPI17FYSe1OztH68B3CINCQqocHLLt9hin87qlXsaBcCoq2PZNUWzq0SsWD+5kzsmB6mRO+ae3O2QxmqWQ9HvDLYD2zLaM7Ud245H/BuHYPOp5863/NA30PJuOmPZMob5Oocxomw2TFCO1xasMJ7J0gH7zUMvEauu0qUK8AxgFbiXDksYaETwAQ3Y3S5ozoTXzHnMG3ohbUOuzSW/jnKRHXoHsrqanTww1nMSn/kChhfEBFWxB/r4w9zhNpXX7ele9V9dK0tthIYzcnbkkKP3ldlbc7iGBDj1i+i0Rk9czDbHjVrh/bjK3m+CCCF0PJdC1GLtW5PK0P/Iy7QfEipeFyJppEjM2d4KTGS3/oi5BupHMoOqmE/Wlx9QtWEQIzM7u98PNd1rUXQYpaoyJB2KTIdrrt28kXS8EWFRYYpzxaR/KfUjKScq4NYLdSA6On1Cfiqw+qZENPUPjrBNazbFOKGrcFvwBfMaGY74tUcOBOiwFDRE4RhIvAD8/claFjPAMVQHeQyEsHRqh9u9DghQP/VJYTTOF2m9g1DmJvVsj7ZYkU8OF0hJfg2HitN4J47Utdq3fpsKkapM0L1siLPsBPpa/4iL0Z1MccILkG9DHdCTwecmQQOgBhZfhr1X7RyXhac5hbnNBAsLax6LSnRBBr9l3xMOSzhlrXY2c3eM3MlpdmyzuBhotyj618ML5Y3GKm+YAGff+1dK+Xn5H5P+O7Vwh8n1vlEgnnr9yw3FHh+4fgSSvqJRonaHt+4Kix2EBcWUCpBXrOW5QNyCs0lC1xShr7o97p0h/btHaqi5GInh0C5gQlfAJCsMMfDr8qJCMTajbp448J35f3PzzezLcMFXM77ZUK3m2Xlm96iaayXBf6nLKAIfH3Cyoinw68N/kMjUUG0MXAdkpcUQfayYzdwFqcFR7NhA3z94Ap9R6r7Q3+MbAo8aaCMAScTtAoM4GKU03Q8tQEzjgApCQbsb/qnvfbAdkfOI6Wcv1K/D+vOy8+7uZhSls3chcmztwBOCiPM8vBtQA4AhGKwp6d42AQuup0sbhr2UC0Yhk+62mH/hKuT5J/yiEQcRZUV3FlwtPzw6q/zOqxD/EkfEFRNESX/R5saKQV6h+ReKwoJzECF+WVH0cZmYBLb6C3GrVwKlBtN6+cMyU2KeM33u11vgEbGAf1DnaAKrRbGFsvcgB0HDPYwmVj0CwdAkWJtnm6wqWf0STBVODM/uXgosm0H3+jVjjh3e+TN7l8uFT4S/d6jeO1KW6dwjxeVaZwZGpvb+5avjI8nWAjh60t5Vysr9bYfufn5vl79dnGX6GgrqenV3vSsn5vqrmonUUalpMw8YWfdbejIaB56E9pH9e56EAT9AInvtGxHGY5S2VBCKn+WXeclpgGvbHWQ0Ln7N/8ZzOKMpNKKQ/Jkvtn2ouEfcKVB/p5YPvI+yOj7rdBcS9w6sVOtcgDgjFC2ajCk4xAZZZVCgx0ETx/VmAZAtBaB/T0o2VNUJ5aM+t9HFoNXITrB+kt3UFbF+lqD5lqdhCBuqoMaWqb2Zlwy8tB0yMZi5dLwQhVWd9fGeUqpVpkrIVcDRz52a2l1EvVmcKHDK/qMMTKwZLDm2sh+WQMM0oVtUvGoApbgprCmlChtaV0X6CEZGg6OQ3ZShxRp45oviqFDkwiE6aefmtjz8lOl7KS5f/tfCRLX9lNi6cEoAxTFk8HFr3AnlOmvRQaOzHrB0B0t8pU+XI3IB8LLYi+C8gLiCtLrGi7vPvUMvaLxgc2Qp2wLGb/m88sCqVFy/Vrz4dQ4J2lolhpctpIQuBEJq/TyzZ9szVvroOaRT1+Mqg//LeFqT1MRuRvvS8lqEKtTSfVY3PT3ZVE7Ervu1e06SSSiHlukYBrMAwzwfj0tWv7xXrovfokSxwmEZK9CwFKNu3fugGMshIofGLIhEM2HNDk72EMSCfZyoWhybN1Iy0fVYjYAPT0jQjL1rC1X2zsA4EFPrchVdaT6Ra+W1X1csyb7lA8XfEU5Lw8LRj0l9MF2O0gogm1nLTca5TJFgwRDTySUiFRvmLrJ97ToLBqupnzjPoewPGE4iQ3gI2IbkhwOxdHdMo2odjNAC1A49VxXtzMNBwAjQJCxlQEjo0dNZdoNBsJaFCpMZHLmswKKg1ek5JIdPFIUacN+yW67taeL0jCKeIbr4MffyzMmuXGq6gp6G+Anm4BiZMOPmH8FEyFl5HH3RW9Vbj1brJMvWEHb7tonQnREfQ5vEPrXAp5JKAd7uoT+ssPH688EQeR4jHZE8SS1M6g0rW4ioTtxmgXeHSQVQ9T4i065yBAhjpgjqod8JsXn281rKrwmV8eET+piNgn0MnuFSCdTaWH2TCnQGz+Bflq4lOnawOJqxsdG5WyTDKYsFJC+oymj6BwfufxYxvrZ0kVGK01/k4v52tWD6JkEwS4PCejAqqRKxEOzUYE5aIvleEemBKOJVrRJZ3ddnErW29ailjmk19mgqARN6DrZ3wxvuk/xZ6TsqkiCg9SA6GL0pGNjteFbhbADigQJYd5+hWf/J65pj7S9mxOQTebJLfQ6+24UVjPCQi/k1AcqWS/T3ti9tpt+dnavdhwAoVC4Ex1K4wDZZr5a4vJ9d4XS0bYRMlhzzFx5ZldMrpNu23tZhpK58V1euDMyPdf8ploP3pmK8j4Dmdd2Oz/Cj3dO2bG7PlNHE6XggakBPXJyYCH3U/kSHq936EpVm3KOaHlmriUtj4U8cMjaNuhqZD8KAzfI0jAvgqBhtFye6usx9zh8/bclN6EY4jPg4K+9DsbfCrjw3JOR+zhPvj9+0RzpzeYknMyQrBhSKzvLJcv2X4JtqpFaZMdDLiRdYszfRIIFA3TPcFCM7uBryIacz4fXAUy62O99zu4QZ4PH3wp7IxdCDzpHzf7ToIGp1fGujYcBXUxNmyeeZCaXhcFOp4IrJ8gCV+avmZjb294dAsiV2LHMZP9nxCHmn2EonN+/8HyCzxq5Ga8DCK5BAUwa3Av1OuG7xeWJqumdA5LdVH1MYSf+f6z89wN5/XPf5Q8sDgRQKbrCWI3dKeBZLpX71b+DAVydCC7P/FYqDCE71G3SjaanJneFrv9fjagi5qRwVpWoPn4Omml0qxis6Ej5W4ApdaYk3SmNGB4QMLuLiZfwBAXD+3iCcn8H0Jsyq6OxQFaizzgeHMMvQOkkF0mqSdnP2MB2DfcEkFGTFCjK3YL1FsILg3iUD7cdr4BQ3WSgP5FdGvcPJ0JipyrxYZ9MgSNPU3F8m3lPXw50QE3Meq7uBECxAA4mIpqhmrcU7zcC33q33ZA/Wd9tNUaM5ixjGngsGQsKJklrqiveTlgcmzH8cTLzF8CvtdWgKi+FrJzuvcAQePnz3GNxgSUbtFFxZdcQaFPmKYV4Fc41rSzDId8xfhgmx0NewINvsJOqVSnN4elvYwvtgw3TRJ4sOV4A7fgBYCDdoSGwTLRVWPikYE9y0YjwYdZyOqhSzhXShmE1SG+fxp3oqOng8einFzMerCVL2Nvw9KC61f2B6kuos0gCSkSHbu0naysyzKNuDFOndIMcCOljPMe/MCZIR5BtJ9GmjehfV1bQ+eoTfp9hkQqZ/V9sVfq5hjC6g6E/hxsLmn6V+6C6iJ8/RdIHlHiPWZgYocsiiga9Rk2xfFs64UgJwCzia0EUOItPWTVnNR6+1oe362Ub5P7t4xyVFmGeR1eMCUdN2MBu7CxxDlIR9zU7UxCvt9SrMyVvORhFW9/VddkU8vlZcpffYFxnUg/+MaUn/I7KXutHjSir3TNcC+hhtgnK6NFSgwVjlhuIi2okgg3upp8M7YXKt4BdAqG3fQgdJ1QLK6WqpMKQVPO0MM+tcHd334sY8pWWiXMgm4DXaBJ1gwECZbsfBtYZ5H/xaBgO4fYEGSB96KZcJ0yvsCbvzecCaQHaaC2GWV6PJuLgp2MgVCQ6fNaEyZagc8mI7Am0M6/+XfqJ6kQ0hPXu33L9uE9nd8Hayxh8ptUKC2XY8EIvU7yprvXUJNpWBT99RaoKUv6YD+phrw4cwacKeT5MlFNJzE2auAapRh9d277MoFcz8lR56jNrcOeAunbDKltQsRd6toYwNBIme68jP58A2U4vGONzyNcDVZib9fNj+2sB7mSHNxqJ1bq1qiI+YFVXPnO4s0TRSl1Eo8SOLnOVNUIIPPLTFuZ5CR02wL0FENwNeyYfeMBpcIDNMDibv42mwfeqRiSKT/L0eKSrbE3ivIgeZWVvYSHPauEryPlSXh/Gp9xXJayam+EuSsA7rl0GFV7fCJIe7Duf3IXUtK2WVwOs/QpNbrifisgby5uelw1ruBANE5LUnabJgAxJXWL3ay+ApbFeN1BPzEGM0DPuGmZ+jhubbOnRFAKgb24urHGz3VLywUuGCzQuI8nroxRCfRyMzIogtvA4Zl4j+npKwtpESJgSbNmBLwmYf0RCx5OAnMODl0KoS3vwRpbiu6DOI7aQsvGqc6iPCt0hkhY1yBuIh1hRXmSRsGydku602wryG6D8YDw4C3isjlBRkImHmTU3s7mqx21QI8qQ4IR4VGVCXUo7aOa1xQvVY3eO94+VxG3y1p8qAe65BVBGS8AM3/njYxKnFQKWusfxQpnHhpgpNOIoMkHAbqMLtfbY+xkBHv0jKudhHFdOe/fFfa0RT92Eaasjo3WhSXGSCIPDziUDeOaLLbQUmubJm4q5tnCOZjzMwl98y2elj+y2BxOUXbHQGF9xlaQ02+8MEfHgHa3ZhDsKJLgyrb9jPdUMQC07Fz2SOJyAS53Cb1eE6ltA7wVTV4VR7CfvGlrH/nKFJbjEuOYyKib/bD6UrY8UHIZ6xb6JCvHgEAT7vgZgowoczDuXJChCxlTl/nJr5WHST98niGX1pNfJEdXbFZbBRKx1pv75YhA1Kz6PUxBQ4gP4COMFQizlsQg7v8x7kpzqpfUz+yq5R8UdAJ44JPAceOap4ZxFeUTqW74bGMxgQFoOj5vFu/DrPd31DSPKdpf4YJZ1hC4AkOPrb9sFS27iIZ9MFRNROalKtJZKM8IGjXU/eYHefMSr7bHMD8W5zORhZEeCDwaAlTPBFyRqW27M/Oep8yYnRzou30X88HrRC5UulOdP9q60EWcudoNhcIz2gb/Omywjabp35n7WxeZ4gh7QVk1/pJ//2Hznn7QUzmjzeLX9eZlUeuoNSwpK0ZGDSBadxJd/rI5v1mDfscaMDvNh4DpujvJx4O37NsB8wnvWtWIPUTHNBUHXYs0LsGfs+zzKSvGb7t7YOD9tPzd8tSvUegakukZuVcWvCr4I6dHq+b5exIGiI5cmF9pC241xHaXBQrmYvzowzuN4p/+0iQtmigH/E8uuhLtkyWsFBCu4KAUiv0BgoF/xvGz3EDILxa8au4FT8Ic3vrbp/KjD72GRTjWspsuy/J+j2HIWBsSEKfv43WzKH2SNeU6pWsDbMEIHm0aT0/0letTc8PL/mgn/qjdChrxdgzw+VKLUHPDPaXi5dR+66bV7/YWeKdmd5Oo+lp34L7WThsRj69rT1uNQ7TLMUvZsxW4I5bxrwYaKL3Y32LIa8XZHB1JRjbEDm/pJ8HWHHQ92Mj44fnuhqrv5yTOzfHONBOb4z/L2kmlhHEJugqD0uSPbxtbvkxyB81AoeX1VsIhtS1zhSYAYjh09Lbv2u4YG3SSBWOusMIYXYp9zG/LwBtBOnDyV/mugiaGUBCjSJFtodtAHfs59arKxqL+ut9hOd2qcYl6YDj0y2HLfr8sVABsx+jYK83cuab/CPvIJZHJDlCI+Y5xMQqQKXscCvQA/jFDkT7vLdWV1ynVP4/uqFzHQuWnOlPpaML0EB7YrZxQzYpJbvHMIwVCbs7wgPRC6np35BQ2JGxc3RJpCp1A7onc393/0oaI+ZcSK6qjNNIlq/nWQnz8BaMVL0KBpUavXueted4LRFGuUhcw7DAeLr6LjVlTZ59SsbTdLu7kpANQRMJFLicH903qfpk5WPwUKmdRhbvAsuxNsJThJNCSxncKfHnEcSRD6sUOnd4m5/+nuF7SONwUBDUyk69BeQJhQFqu5zKOabXiugV4/npo7BEg9m6Qp8lcSWiwGt/XxfaGcWk/agiMF239bWv0CUaSrzSpdUsSCsI7/qh3Bp/pqaIu1HQ3mvfVdQ3EhRfEdDgvc1SQKMwd2p7/6aA7r3CgV3VvJMRi7lniIcSqEFBvCCxGqgPV+C8m/Vg9ls/TNHk/ptUT8GXHg03IcMBuBcpcev5P+6lUZw6ygZqDC46C7njZ7mk/wQxcOjETr3QxQPuRiq1lwPwHfSDFuqtHFVPpzuLhfQLR1Mpl7HkXy0wrcR4TyyzRfdChouZOQj3MFUPNKwKnqeX+Kl9GZl/Mne0SgLw9GdvxgPvmcr30JMNkOAWk4j+cq4Of9g6qhjx1gyBkX98uLa0wRqIp0gv5SWOfAwJZkwXEpocnHWL9xBXCVDzcE8wrgRgojfub84PwsDfLE0tLSpriRhkft+2cLKjlEhk35cK9BrDmJSegA+gc/ZRmON9j9G4n4gCJGFP4c4qHFeorC+FATT8acA9g8koSVOGYN6TGcI+73zrIm0sUfCM+1IsYChKFsT+cJ6c0kJvT4ZBO1ZN6F7k7Rk/LxOFXkaE0OV+8BRajc+kY12pGTctAZnfTS+MdF3COvI1Q5WwZMcmR6/TEZlPy21NcPrmLSX34RPbgq1UjB5K0fp+JVGueYAscCEnH03WXfdgckYoe15RGm1zY9K2AaBuotD2v7OBfK12s1Gr5B8Zl+VieCx648s7hbG5mpyHma/QTkqHZslhUsGiMXOramsx6A+UEbD8HloZQSXTpLIUJTjCDN0U6iUASJ3AuhLwughotcei3BAmy+OLHBYjZrfLm3pR/K9VMmx2awx1nywC3Is9MDinsrxgFcp1HFbscpRnwWmLv4JRi1hjvX6ZxhUPV7J9Mpu+L2zUHqWxeBNtuEhbUBR2oSFn10kz4T3g5O+R+A9mkRghh/nNPUf3QUj5S81NLd0RsguRZ1fYBEEx5NYR7qiu2nupPihhzqcve72fCeo/DQPxCVq5nKqPEBx3WWraZCj7gGKrR9A192OuUdCqNw2NOBwTrGGaiH0etYTOvWcK6s+3iX7tpj0E0OXtDPvgTXwPaxcf10KfeFw+Zqz7zR7475rS6Xxfsl1g+xK6rZNNUjKhouNSZSXbUJJYVtD3eg/V/PzRtkykH5lGXfrdK4mgc2jlakroE+sZA/lDgQltLzoaIgul5lkjyCG4zKRo++d2hidIp17UeCCPf8F9UswtjzzMmuiPovLeFxj22kKT07rfKNWTkk0YUoSlDc0lfQRHH+dvJiaWiYD0jSMOHuC3ZKy5dRNLh7QAb0g9B7sDqmtJtpyp/ePMFP0grOWnTjSL+fTrwLoSN/rL1iFuIM3Z/EKkRHfZklyqlPkMQKnIoSin8WcBRPM9A7DVEWMA9TQXSeawYFZQ0uRuWW9dSHKnXP8RGnPJzEXXMyABOF5oA1sROYT85xRM4M5zRyYZCBxZGok0jt5BmmCErQi+GE8tBtGj7ubNto5X8cfwbxy9TUtANPPH9LTYZFV1WYz2MnuIVYV/0K5MIHywXhEhfDNRc4FYXb4QZe1RDfF9mfwVFqkyl0iIM+gehx8/zTEW29cAtSavCEhwl4raUEu8+M2ttNex2Kqp1thoBYU8PQGVcq48dXmFdsFF/KFs0nO5WEjL/Mr3HE1jNpDqmdYhmHI7hg/ScPDU3jBET0BOAg2VVVWrv3ePOONGhAqKggqMYwr/+0rDR1bWRZyNdaRM6ZC0I01nx52HzQPwPV+lrPc66O2Mm/Kfb8MMO9AN0q/raiYubp/X1Fi1MmqW6or4MxGUnrfuyeYUmhqfoT6uOzyLZIlNfLbQilIP2hCFp3Wweun1O/JcQ5gLeekO7Qj0qi++txWVOPdO9P+GCl8jnA8hiUKsnHneqtYAvVC0NhbRva4yTU3VL7l9hQtWmot4TA3Cwb9y04IDcjzh9VuzmIHRX1MPLBBrwv6BfRlHOU4xC6Q9uCUihwRMxzSOSeWyjXIN1guNr+wPExfzy6O01cTweJdjuJntciUye958I6qDeyMfuedmIUvmBN7ZbG49qgfMRBLMd7AFNjdmxkvYZVztzdC5E4CxwHlnFxyG4rEwwTCTyiNUwDZfsY4ATC9sKN2f8+goiW1HgvQOBVROU37dd5RYXM9+63uL3tvx4IBVykkNgLo8ZrvuroRbFt8sCt3gVpYHAey1Vi9eIdnbYiXiN/cOlk6mC1MJE7xXpTtJ1yHQUqWoyJB0LO72XPEnVgGSi81XIau0eoVbjRBUmMVcikUAYeAwQtswRoTfuVk5liHEEl1cK09bb9lwA+MyOD7nwALO3YWphkyKe8raIup/0hrGJQWfsRtA96Ccqxw1cakO29bX71gBKt3cX0Bj8XWeGk8wABxcUPeEdKQGOOUg1/VFUKc+tXYwcmmcQ5P+qXn2oe3WByLryeXj4MNvL7Zf4JkG8RdUMTZbwNr/tAF0QNS30+LFeA8SpTJznB4sM8zieomZshvjwyy3o7L5E4pxrih+24ppRoZNFrS3r3BzfcPD6IgjAhitmr+wWonAZ2WkfmLum3zjjOSnbYZFnoEUUnhuwMiHIKX6g4t7lhHagNzJn6KixV5J3i6TBIFofAhUUnQsXQ0g4ZTIDsFTcowdNRlWytuCZF3WpOmZzZeT1twWoNPM3gyxN3IM0Lc7GKLkGmxqJsZjvRQl5l7GtxJrUaIjUh+64EPGmedXVNNnGSFx3Gx/qHlwFewTZp2QS5zPCpKJAHY4vVRwhue0Xx6ia8+wC/PXuyv9VQ8hoyGjsZx7pwpf45SstPeZ3RquPf22ojsa9+e2pumLvjUdhxsxKw16EpbpS0DkoVXN/ekp3jxA0SRWd93ojLylCMRDOd51o8ORu+To5XzK0iU/tPXxujzb1oRV1ZyQdIgCWdKh0zTIIAGaM3IO5T9xKUdTe+WUzsqNuHkBYunkFjmkGa5WM4R5Lcm9Nn2Ylvf5GGWCIfwFKFMyr1A7SLQDzjvDrQ0xciuMqeQaQvxEm2Brr9fMjcmr1zFuHNON4rOS8CAkfUX56C5k3rXbNgipn4v2iS+VW9ZXp32cTb+0VfBe6d98/Ir01RYSXRZ0PRsejIVTwZk6JKrPQS3EHOkGqfApbSu9ue6SW7m/CyVPahj0QdHz265TCKqKCLUGOZ1LSD/mA4/ac3FQBMGGZD1v4Qz49TzgYy5KlgUE8jDNkFaqV8S8pWRzG7d7Vtk3SAe+cSudNXz6qlDdYc+FpMG1/3BlLuAVdEAd70xNJmTSasc24e7JEkw7Gn/a4vllBG5ZlB0E+acp+pcygxk6TZK5hcg6XODp7LEEkzciWYpiMajJz/E7l/YD2o/6fjBa6Oz3VX+FG2J41jc+Qlp2tQWzwLPeoVBG8GJTpiV/J2+1B9ChgRIbkamOqeaAsjxV2kiAYK4WY5exAD1cUfNJAHo7RUIIElq5BIqPVGXS4rHFSe9KSeC19q2C9PCL1T8B1GOYzdioTt2IPLdUgQPFtdwe4MHBco/EObAx/OyAJvAOoflXeENAmHiWElMPyqH8NLoXWpFRKYnsT/QATzTIIjBT6mXWz1sK09tpDvVBI7n6EZ3PCvkLaAAdoi4qVZFe4Uz0dd7cWWmX55E0HvA/4dkHj2cIe+NdZJ7ghH7zLcPnZNQdf+u3Bb1MpMVsZMsxaGAiAdHKzq7MbSepmQ48cKW1FkNev8v+YoKAquaHZw6VmlTdgs8Z3pYTYzO8mQ3OYr4Kb6xNHGtqey0EhGGbLIrJ+3sxJ36yxpwR88ZieQIh57NT5LhsGhFTxiuH23htTyOZ3gohppd2c8ryOW+5xGaxHjQAntPb/y3zghagillaoNixsgEG29vSn+CSKAhC6oUO9x4PuKTrTNo/e/SVHtPdwckPmwRZuesvOPJ+GFl3dmYtgQtD6DCIZr5xSdWL/3tXSRi17JtTsA/Yt+haLOp5plUnmmEYCa8LUygkUd340HSwFWbdIvN0tC4N8/Fp9haIollhIcAALXCuAqaEtUFofu68X973DcUVK0+UMFhNNjLtbCTcbmyffUVfu8px0z/T9mXSZ1VwpzRTHgFtl7B3jUmDQcIo/x+tEo5GTNM7yX7jT5skubZ4S2H0zvisam/pkOS42fZf5lYK8fA6VeNskndZs8dzBXpMaqQgWN4f74nijGeSTq7/5mNjVSNOAnjr8GjQEvGCpgSod6U2EUCkveaOZeCEab3SCvEVn/kD9pbMersANjGpv+bnlZZeoDC92VM1HM0yrqyHUSt8Pvq62QwPFwnNT1zFW0xv0sMkLPs4klasccV+l3La4aWEju/xEWjLcgWwcCzINVYQr+N7fJiCwA8CFz9VPVggVHkOtxnxmn0dOlvxMP9pWuxluGujDMMTO+BNRYvdsUuKXfSgWsBV0A/VB7SjcKFZIxR9lVppLNhMXa9yLuoRSoPKQ/+Tk/aO2Zh6IHhDpKZNEgWU2ylyQEPDzh2Fzn6ej0rKUDPH204qgGpPfGCSsfS9dea5ADgfT285LkPIQfXDC7mjTl1VKxbDvVrzr4gGHLfKMaTUL19s0d0sCdjhxiwnWtWtDDbsoxCYUYM/+1lhpUFsnQ7YcHl+NZzltLBuXl8yteIV8uW/UqfM5ZfIGKYEs39DMHXWhsdd9A73Exz3HruNLwvsxMYl81Edj8iXk8ymCXd7FiXRIFzf6OMroHWx3IKgGKJh40J7RZJjlIW154Uqzdruxg5JpiDTOsC9aNa8CRcZm7WgShjkZNRmEKVT0iWkxytVgxFOo+20myI6Vuqat923WM7GyyN4V4qpVEN8I0IMpIpxNZvEiPPNTx0GHX2kDw9z6VAAVwghU/6ewFpTbGmvcce0kyi4PlqwqO2A4OetwQK24pp+ixRqlWfe3LINzW+TuYRyTqTtZVO5i8R8uKWg3nqPYYH8v5nK82bBTv2Vp3OpyquGDr/abB5rC0B4sKlT9q8XOv+rt29s7DwjMAoQFHQtj8pGloaOmHS2kwU2BFuh1MsV9uwmqYkX1Qc+d/mMztTMnYXpiqXhR9y5jK7Stt/P2M2NsQByDD7aoUrn8NzRD5u3IcvLkSElOUTdQzUj6tA8Y/dtGxSBwE1eXl4UIbl4ZPgzEFe0UDfDgGlX0xGNFYAlkqB6Zw9A2D+6yRliXGuO1jSnP6R3QrrXXmmHjk2QE7VOyd5v4ngUzGF7oRKZoy1jm82Ty/bWAsVJctz6WRYyGQ5ml3I5MZ2SIa1sWD7M+Jj5SA6Nl9rpp4frS9SnYfHoDYS/A9nyHb03GAy7fBqcuLX3BfY4BrSXJG/MfBHKo756n+TqsZNBOoofBI4lhW9C4qHtpo6DU+FK1NpmYENCKrECmtWVzsEFdzYYjp0xuB/8Wf0m7kkh186UTSfrsSVHW4FTunX67XJHFRa9ikmr/jMjSkDPEA9phCsJWN2ZA8X4mK3iRGKLLb3iv5gwV556EDwYMawKqXpNWMDcSP3n7t7+mlsTl8kHY5FvhTqKJmYHKbSgfImZpXLXwWxzf0zYbIBmejuhbEwbFBT6yKjm1CRzDP5lmdwU1QHuEjiyrngbYmrxwvwjJAbOaQGthrHUm2t3+GOg66NfEnmtVtSumlJqx0EqZ+t4h0Vs6dBZnqCfzUUnlcMZBJ41DkVaX4Hbl4jBnGWQ8dClBTD/mBrHg3pEIh73j2NQwjvY6dOSlDc0FtyDMmLLrvM+MDyOXoT6X0CfAfKE6C6iopBGNyT61kt/uIAdAnXi7/PmjO24wX46JiTsCnO4lZYy9npH1BYh9O06xFDgPi3xNiyeHWhWxsX+K0I6HIbACAP9A1qXyMB88zU4ERodWe4USWqFJj2R4Aqb9rsQCbScrN6LwNpBzvA7TluQWuiUZAUb7o4ymuaT7+odLYzgcvIdlTHUdRaY2AxkhDp4/IaJRF4l4OWYF5scIQEyZNLa50MYgcE51r9mJCMvuO3VqPliz7xpc3Ya02wqcHIi8vwwX0CHQ/Z0QGDB7LvfOYC1XFwR7TRYcLa+I5fpK649/kR7W5jP3mTav+WFq4Dzzmo+UTPzS1XdtC+v7c8cIQJZ0WSVKTC06ZvFQ0yOshzF/s2jn9sc6gckDIU36Xwx/XZrXqWBZFjN41b5LUlag1K//knanVtTAtQmu7Dy8OmvqcPC56UudCNKIXd6pwwP+pxKzIyK+8bxu6fPPrcZlm5R1Qu5y3bIUToXdC4y/U7wxYoiB0ZO5hDPVWHihMc5+MzBfPpnNmJw2EwS81x6uek5TLMbqJKWpf17yPXTOaALfP3JApPgZyHxpSFiDW3flkIX8IAOuhVC9wpCMmHLvVtJx2DqGcg4Npna0AU2rkriugihlC4FF4rG7Sp3YzsyPa1Jl0LsHxFV1FiLqb6wHDtZSvWrX5slURXXi1vJCMmZHkQ/c5qStHWpA7YWQ9y4wMwqAcCtA4xL73Lw8L2Cb+MlZQ4Mzjz41ny3qKrEyIqf84HC9mT3OPr079alUVfs7CugAxdh1NTtAMVVIyJCX/Im4jcmpW9hBWzxtPX9fXLHp6rdr9B/n97XUnR5ceyQsUXpgnH6SOXxrYH35dlw2CkhieoQHSI03VIVXhfm8pDvuNiRaUQ6WlaDkGj1sZBhCJJS47n3pZflDbIizmZWqzYP4NT9owAOCwgpcXT2Qzwa2mA/MhJ1eVNyfV5kyuKfYtTSFrn6K0vfGhyRUk9A2LBy3TJY+ai1nuXYYOkRb5Mn3FyZPIOt7hCadeNWKHI5dQkA6S2yjgjoaBbcBB96CcXynpom9rwqIeGsOeMSDIG3lUhBCuGAn+n2uLKAsn6XhfIfZ6Dw//15rtCqu46w/2B6D91ZwadCNnSWBcYKX9BlWvaVJ4NUrPNT/Dhdew/MC9I1mNYmXPtblJfzCkYS9dojaR/y3ikXSuGyK8VpgAhvZQaJ18vCtcHCBvDpyIrQa/LpM/YougZdgRuj4znNK4jgfmxnstAkIHwjTA8gIBshbBkLJQcREqr1YgBX+QBlEC6+UzAJoWIrN1/EMkpR94vSWrGeT1MlD0bjGwNO9tiPq6lK7csArQeCj26LOgYkWYhYzn3y2BZJdtReYRIAcOFosef56e+Lz1DfyZU121ZfDINrf+hEXk/ptIB6f6SrdAkwxPcnk/6JgCzB8yubPlG9lpWHC7KuxZEA20gSMZNLbHBTOKJvFCjjH0gr17S4Nx2BoAuiwvqcNGIKy4m2q4jttRGJWH/uasIeGeMMnmZ7DECkgHncVtBPCxXf7P2656NOw68b542JtGmkNNut70bvdTSGKOdYivpJiNZtM/RwMCMlp0tGZuJcCOWcyMCSdGs8AtShVojxL2YKKKfYuOOm9pUFlm9gFCXkirb12kZzgGXAd2PTFizeHT0eIIrXuQU5jP41Wf/XahopI2ZVzTzYOtj6PK1kS9jvSAjWxPr3FoEZEmAtixdd9XtbHoBCjMrkAD69T+MxTsWEHUexBByTJWRReRuyD5ti4v5RFbcIMIvjBgQ6d3wqLsKXm6BS/QMmK40q7biEsLUogA7hX7Ix5lTkcDYA3S6wDEm5qWPd/9H3d3Gw5QhMGF6FaAzaUvQmAdJh+a1ieYqpbO3MK2t5RIcFxG10o4bLKxWauElBzgbasK7J5q/FUUSiLuO3ZAfwhTRn82vVxGZdR2F0PCkDfg8q4ysqB/LjKLEhqIAH7ntEvJyMU9EBz8Pi75nCp/rFhuRrINiJnhQOzDa8Ld5yaGY4LsuBQEsf17DMl6c0JalrY82ti96jhxkwWbBtXI6M5KjXWpBSOHh595g44CjU+d40/U8vxNosyZKn/1cQVT5Of7mWVOeuZkgG1jxVq9YEtdJJYpn403wEdJTkyqfkNh6Q1DT4w5b6j0+MDN0eu+AbAMwL6aHHrM6EoDhG5ytycFVuTRpr4S8ZXe60t+zmBVIug5ZKoK6hHD1w33fZFNY6Z/Upj63FHUvDLSfq8AOrlta3Z/l2MXDfUf2DFDpADl+s8Jan5YhmHRMUYbt888D3Hj78S/LpDFUcdZGZeG3+5cg2IV6Y4VxaObp/NbA8Kv1x34iMjURfFiTayI2J61hg5VegZr86As9TCIqZKYS0EMQXUVIOwBbXrvr3MHHwPRnUgBMqW7B1lq5LpHTtIlwbi9XYNxfui25Horel26CwY0X3bNUuapQ8tNmvlNhNDmmNYRKpzWl/eEJTzMUMfUtew1/+4NUEB1LVSd9c3TZBBxgzcWMQr3tiijPyFiIFE8tkcdfN+5Z6HmzvdPw0CAPq7krS9nEUYeB9OEJT2hIhw+wi7u+3VO6ZzmJXg5F/R9+L7FGVconHq75S1/sreuHNDUsg1wmmc38lVSHspQf9NV+sOiZiqgNfDhY+cv9viJStFQo+nzhul578C4th1p9INm3B4IXg/tKEsG7z10aLLTyTx+KtIuaC0p72m2psTaLIW1d3qd+gnBMQqagR3wFx3fS89IL5XQqXXM+qF6NXxJczzNronUuT1pS14mIX814GvvfnzTm23Byw2GPOrkDWOdWkcO58Wirkc9F0RebICIkbj2rciwrFQB1YF7a33TptEKFxENytDl4mB9TJNEtWuk2aHIiouM+y/HzjEYgT8SKd7VJf/ciqFBa1Z07qVe6VmxDCiLpnvsBkg8r0q4mhzoLu1Iy8o9HuY+b58dWV8PyAucXXq399uStrLGwL5axj8ZgotBMyz5l86tZo070ogHB1OzHhPll6Ro6JBPP7LbThckFpAclyhQme7Ez7o6zOLyV919zldK16zzgN7zgBihElrUuuFqvonaUmO3mBe3m4zuqNxCnKuJr8ycuvPxU5O3YZzqwUA5GZyxY51TrIvocHI4ts0s4KRibXmRqi90J6vKBVu5Gj57rw7w8F+HeO2gWiAlwub5I62O5oz6symiIQeTEa36/nL22MdoiGUBfkA94kWSMHqQ+JVv3CN5gxVUBTCNKMUS13unnETl56USnxFFXtQdEpk9RyOKPDrnADAA2GMlMx2OFNKUhkWetg0Hu91OtHl7Aapdk7dSqrqTQC+LGJG6Oi9xZ+EnnTCUnU3O1AhyZBP9Z/2YXKpLlakJQEbcnHhl/w2PAb5OF6oyU7w8jRA/f2OQ5X0fpj9UQyye8Mksz8m6mJTtzFZ+U0NEBYAg2iyU+Y8ppy1Fz1slwtgVXLik4elL6i2Oo9p2KAEhnyACREepl2VJRNM+bWzWhvuFrHM3bzxCV9Ibg1R21elzkd+pviej+bHIgEt2UutZMoQYH4FHuRglnORDP7TZziytx4NwWoJkFAjFBdGcqxu0rd4tVRipkPHAsFrCtZfw2J+Jtg/2ej4w/eInwPFvw3hKW59kygQxep458o8uransxJTNFXAIaWagBp+/O6yJE/gkKCs4pawSQw20h+091fApG8O7cSVqDBi3l3LLFqKb7JMVPa4q5kOtBg95OH7ISoJRjKd5YSle9m9g/Fm+9B+DQw9Tu/iXvA2EJUFmkpP6gQ87zvJ3X0V8Dklq6GONe2FbSPEhn5kzDaesk4H1ykhvYH7D8ATYSy6faqy/LnpaPg0LnzoW/gSqRAvICcbEwzxceCElrjRmS/3h/sXdkSIPnwc1/fyg1Hh7d6WI0r/HaDX7C9CSgXobc6lqIgvgYWBZl2OdhxkrOmUYnEMMM78GCIXKYMRpho1P5jChu282PORTyo0wWxeAPI8HfhUImt5dpi3kwPLCUogD2I3wyXvdsvwbmvGC2wFao2ym4erYK1F45OwHI91/Qqt2kxgD4vOn8Q/z4AaVIemQDTi/DlKnOdiSeChIESLe/S+XNJr57y0RjGb82m3+hJaeRfBJ75uYAo/0j2E06DfCbQeLo6MzwPOlOCtFwSdm60WOQ72L+HYamaRvkArTvHFactk0VwyYaNhoE6vE8TKGBTatN1xjBeECV74e5WwpVfZszwa6AOoyt2JbSpl7QK7VY/sT0EYV54+xa04fqykL7NNkkJzg8vcBWf3uiyI00nrPDBOqoeTVJYcwBpAhtLcgWGyslxFgYF0E4GGM0+8FR+zHkyGMQRPEpxp+XAa275BTylhHux+uYtFM6w7j5SzCWv77R18Sg7/VFW74a/HAZnQUVXr2sfxSHijxoWx3Oa7pXoro6vs3wiq3Ql1/Ofhkp0a+CEErCCdr2GOXbLpJ/hCEyMJDjqmosVC7XUv17RL/JGni0+BuoppkL9CfZn8L2KJmtXOgKn4Gd94M3SLmNJEJKgSKb7lNZj1Q/B01TBgGq06Tz3z8kXKH58PlVZM4jBzALoIWB1kDejn8dP3VGl2zAv7RCXKcoRG4NgZpJAds0ME33BJiURbN7Hafc+Utu64OtLwC+6UfSaX/55QEj6GpzPvCvWtgII8zlsIhDehxM36Iinx0JJCZcDL7jF2trOHedCENDYisQBGrPYsER3iRVkDJu9vpj2zs1bqdi3pZkJ+rp2VIKdNXxZl0pmQZqNPIrN7HQXWGSri1kU7oMM3PrMWdhdILwRGitGaDlWAYgYgLFABd2xnqedCzkkXKarKBLGxubVtVNqjDtqy/c3yt7sdwlh26psQpggDCAyeiOGjL0RHKBK+5SHUZRuVYoMhfSgtS3PU7k3DqKQU5tdAAgHBqXArblalzRVx47D4r8Umg9JsN1SflZK6qNn8dSbZDB5BSoWZOIli2KQLvmTPz8BC0TUqnLWwzdkUK+B/QLWdefO5KbHUWxKqUq+KCSYlC1y2N2cne4N0P9jq3Gkn4oYSyaTADA6ISznCt27oZiBB1OCKJE60XJWqdiTJ2BtMJjn5fPYd717HnCyab2kpkfLD6j7YP2viI1TOMTTHDriHvEXCf9cEtfjmz5k0sdO715RMpltZXapoAv107WYB87w4c43gY41lMyV3fxf5MPbEkQt8E8rJW/+cJ3Z8vJh6nebHigapUObjMp2HaVrfHgpMMSkjrwYqJ1ueJ6j0z9cKX2FVDp64LzKrZHGN1XJigZy7yZSXVGOv9D0D1LPUSFy62fk27o3Vm8nJ1ddSB9AeIzd3WinINctEVIPRGf4JCOozZT0jcbG83/9pLUiuYInOapUd4sfV07dXtX/cU0qIC8ALUNfwyJNb2V1irRv9AyjL77qYEh+q/5Tl2mSHiZouB97CU4YxFhYbpyZiy5BikvPw8rsHFvgPHW4FyBEVwdn4Bq9e6gVAY9I3ymszzbHIRA3WgDErE2iMRloznggsQlPmBDsgIL9msgeiroHT0TxMX+Be984bB20d/mAVWyr1B6ozaaTQQEe2i26n1d76TqkN4BhLAid06vqSgz7rFLQUFc+gA3XF/9FohoQf4WN8zPqeK31KrUCyqlT1BnUSQwkwIeAQqsV3Pjp7RqcL3x2rfCqEMawR/UIGRLsd2kFbKt9c36Vk084UsGzIVL2xZkVws4QeRsn9FawXphS0m6fGv5jrGMfDLjI3nKYDzl98H5JkYAKIfufTwHBH/umsMAYlKRan6WK8EpBChXzXX5vuktMkKl/0xYS9nh2Ham25UT/NCfd3mtKAcR5FBFQysNoKsJy4rMcFsLkChhW10qoDEuStxd0q822u8zNW3eWx+ur4Yf5RM8+qeE9r2cQZ+bTlAC7geLWz7YygzXVBxHA03o/RJhls+r1VKlyRUYPB+gMAk5hBMqp8g3JCYsQw9ehEqF6GfeQW+bnUO/WBccKt5bSi05DCelJyKF0OT8rAGxCqCTZP0RtjujsSHxazlIJdt8RDdiqBNdtwwmNyNMX6IJoXwOf53CIDdkfkswaBRFuX/LHyDEZKkiWt1BS2zOpxBa8z+sbQ3UOuS2Tw9zll6/D9Kmrxntsxwwx7jQGfg5sIWx2M2hUZ/+r0DSHu0/SWv/MXECMgUBIC7qIg8T/pmHwJh7GDMxGYa5+T7vzJx1LzX7TY60erc6Rds/itB1vysMcJ/vj5Jx/6h/Pf+EenfuuRBVpoNG8ujQsArPP0I9Hpg3SPMv8fXPCd4GypELJExFBVZeoRnFvcqzt4ReDls6XxE/GOF9ar640OeCrsMkcsknE42GZrTwYeaSK4p0fboJAby6h0rBZf2O2JzSf8953s5xBGiowBkO5N3z6YUvfRFYlU/bes30ZJx/dyw7S8dSaDOMqiIX2S9nlmtMIBdkfDjPHwwzaWNodcir8t47PMZIQg+BwAVJv8EoDz88Axgu2VNN6maGDL/q2SyAPqs1xhE9UxebEuQhgiJjmmQWl/vbHNtpeAD1EMjBzTj5h16fbkwtedJS27Z96LbmyGpC4CSb3IR2ekUaeb66CUE+z4+ki176Eh8R5XPYv9r+dhhAFYYMLwHh0XUzfLQ4BmmmxhPfWAF4oaQL04pUZt2Du+xMybBclUWOBALfKo31ZBxE+a//toHEMUMQx5EJjalfBaKYVw1D6iWO1mePtbrpN/Fc+Br4s6nh6cpKecNiRh7Xa/LuSkE2ORzJY3J9+/GOqQ87Eo0ik7OrJmhb84fnv5SxtZ48U0j17ygKYdauVpjpnbAhgRXn1sQK2BlA2W43Onjm5WoNeGdHndJ8YRpVdOcuLHm49Iwf7JPfDaBlvjtksNYMySVkuAvTN758cxd4cnQLRnxTgXpMUhKbleKR5/nG8J9gJ0PXJYgl/ZII+Dwy05Nfybhi7xk9ZTUyPJKD8ccq89jTDhPWjLq5iSQmYKkcdny6y+5zj1uBY75MXKhybzFWGHjom7gyvnjBPwnurP7M/rBx2RVlXM1vBeXCH+JPYtoYar1DxGptuKa4BXx9VUAb7EoznGYc67GQ8MxMunhtwwrmxCNNVD1kaVk0jaqynJOl9YpBuSk9WeSEczHhbPuZfABzQPX3ZdjBfhbRKQNUxBnIRVlAkYBtHtvJ1m4ebaPsFAxCds9ybjsFgcdreauV8EYGpQ1OzKCJy10h+fIJZH5+KokhuIyIaOj+GtqU177t4b8sEjKDG9ky2GQvDyfLiqOPXEdZp/6iyMwzj8pNs4lH/s/1os+ltKLq5UHpxXzr42+7p9vwcn/n9st7TWZAnMojO4cmev1aiTuzz5WrZMIG7D+ua0eNphjifAMx1f7+0Rn7GFqA4B1A+xjpe2Le7wcI6OxInfSwUiGJO0FYnZggnj6mQcd++Y8jWOFptvqVvrn6PdERdeuck6GR//NTkZRzh8++jS02jrONXipKEgtHus+34V8PHeWpFnV4WrXf1EKdoJTvC4pmDxQKxMl/x8XT9UEEcTVoqM86ZADZGVnKc71EB42jAdn0D1zUj2w4ak8xrpVDODlb/ReKaO5l9vCPIn8mePg0VloToGLq33J5ypUbmWMiODVZjmn5FbZtbJw064TEZ19wdJbjx52plWOl2HMQEvRDkVbyh3QgslJbs7WngLkIKR1R2qbVVDmVv1spc62qnSFLhU+9Quj4+1deat2JfqjTu11mYDBtyTuxmZFcOFQmIalTLIWfjh/YDSMpRiETTOOAzoHOxKMKy4J795egNAbCwAMZSFK8T4CS5OX8jEV/anwI36wBuXPnaYDT4h2FF8uWB9Bkp8AzxDk1ONXAen/8mpRnv2cUQ4C4J0A/weMYGCo1KgXDr1BKM1jqRO0cRfJK2WYwxQMscO7kepc6Y4l1Ph1mwmvUAfPZH2ndm+SWzydeQjxAY1PvaqQgjD/SVGnYDsTPMf3Ljm5dDTtI4Y1PF1VqWr7dSvKshbfbV3wskPyY8j2iK6GYaTalykn55zZy7X2rYMyDd1/1y96Pa74CshaqCnug9IdLETmNN5M5JTwoznmuXOZ24Cz2XER38OaGhoI/tF27equ9ADbWztz3l7HfKwxGzA+yCWiHS21z6c7iaJH9sv6XFrOWPNPMXlYZ+QMSYjXt7cL892zZDfscX+RqKZ9yTDkzS3yiPiWsAReyPbp24yfWCC6R9Xh3UVlYjABcv1koaMlNBYOxbVuHMIVe+xLxwaIDEz4Zu4FAf98D3Pj5A6+TvJyaLH1fgOejFdmuCvz9zEkjyqyeKJs6+ISmGVeYN7VXs+ZvrpQKxJD8jI7epTj77adbYSdyxxCZ0KWeCaf1uPHkCGlVxiDw+BDouVdl09LYNYAnrdiUw/iATqujRr5rKIPJ07J+UpPL5fnDWNF8uRmOuefTAsUwd53ZWUcythjjZN2TzFX1YjwPDxsIMSBiu+AWUXLQxaPDk1K2EwLLzV2whoLyBKDjn9iQxNTg0Q+E/Pj4Te7SmeQCzzVr4BC2NW6Dm95Ku/+/Wup6Kh1lEvvDKxQNy75aJqrlplI5hcdhWI7yYzf/oFtvhRWyZ0pktqDAl0x8RIDQD3eEpJQaTxe9VZP6deY7NfjtrTlqH6H4LeFVImvM/InJzdjCgJ0wR0KDtSZ97DoRHUVpLam3w12QOzZPXNW5QTvJfbC0m3tgcHMUniFmAPkWlfjNXPUFYFDbZeZKUXLgyHJQXfp3whvhqUNHfMV2uyAEyPXfjXuuMpb9P84iU1TTrARmyUOmAHXkBjsv8uRoaUi4f6I4St9gCTwJNkRxj+j9yBGTZZP0bvifQNxr3jZ5tc3J22J3BVOx6/GzxThjfgc7lOyH2Glmqn7+s3AdFMzIij7wSsgIb+aXvSZoEWOJOMJ1NtY8vpLu6EsD3AwxiJeQdXO2VsKAEf3krc1p7afgJGa0SJFW1/35kn9VHs4aUpYmhEaUe+ZtJ11yblNA7DybaxcVrlPK1CRSV59k7d7UXvJR5+Qyt0keok+tCYqp9iTpvh2PDRYSmwjqI3wxHKP7gdRiu2Fz+QKMl4+Ulfqmnh0uQ5U7QZHssGvkOp7+z4NnuDABSTwd9MPBWbmPLdGfYleBjTwgzfwh5jRxdBsRWkWGAWXphenqrHixMnq4+00EV/PCHhMiqL+7G7k1PD/gssqUWvMoOlnq5a8LnUk4DX9jG1IkINr4iqCOV1FTQfGuyAQijbcjbLmvPXQNnqhft4dkHClKY8gkK13NAQVM40MeCGmFfbE0hzFYLUF0+SbyYaxKY7usj/Qf+NEKnmglyGGmQnOOxN3B6O/w7jsWyGTqD0zInETM5FOuJrQk/OeWpuN0ts8n3NzlDYFydNy4Y1TFrmeXU0Yqm16Obgy0O8ktPdCgEggkQZ/CAIrEBDrvAGqbdFKh+iNLUZDvFg8PKWWTU4Bb9mtASYqKA8FQEGXMKd9kBMMYPIln8BPbg9+gt9csL0Pk7mOxFMWo143s5nd7byMjEwfqpY46/pgZw+JCM9Kd1n7DtYCmJKMm4u9CiI6tQMigesz9PN6Kmneen5AZPK8Iw1o0yd+PRWO1MTSxEFU7QQ9XboeXeRl9XVHdoVsEOFbrcX2dH2+61twsBvGRSi+dbpk4TKEEc0SNG7r07rwqKK3bBzW1J1o7dq9JA0UHSiUnYrcIleLpHGtEGb3tUi6e2A1ofFGjFP6b2qL51jve/rJTxN8a/KeZ0ENqIbBavCyYRpN1ephYVXq6if1yxoUSguSWyK5XVgvhg=="/>
  <p:tag name="MEKKOXMLTAGS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BAINBULLETS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2yC/PlGrDxgdLwWWGEx0m9D+t2fXK/lf6hTKdKx+xE+BUHNlHtJuCzwXexXSj8wKEU+xapgRZ3NPblvqADZkyqwBrOsCeg2Qit4xUzZ8a8vDFNFm3ElNmR+V4+N+gdOCzF4fHxuC+sO+U4cAlJNWrj3Fb/jbg3lTGVZuB6HM5EkceIOtPgub2aPgBere8bwmRWrbOOYER6zxsWlaDDCiPVZ9amU6mBqGGCYhXK0CbqgonnHsb4mmXAit3REnhzx9X9p+P6TIxm+VwyxuXP7bwDMbxxVt4azC6LbJdZ8cVw2OqNxef6WeT/dLBSP64JQNb+uDlvlJGqgYZpSZdAC5zViJYwS4Q+/9bN5bouG+elBJzwDQtV0BXZjT91xO3iw1Mr5PF25ifOT0YtPxZW1K1h4mH6ZzM19z3lIUjgwsv4oJTDkDISqrG1R4fJWGTcofaYM0FxhFL/9jRUW/icEtoDWIVnI6rM0/pnqDdspJmfc4dGas9UEe2F7dEAL+3c4Mi0U2GyThhVjivU9/nuXmRvZuRGBj7kZ9KDyQQXNqRPOB/2Te0KG8x2zdEMrEwscCzD7rPuCVc7Yrh1Vi/iZT8z/OoBwBCBBIgZaSr1jY2BifhPhcOPJFwM2gQB4zTDc6zoyTEta3MZyeisJYINdJYEYGzl8SRbk5vgx3t0udrX+afhWioS5QWNGewrgF6oX/BGgzLwuIN9uFzCim69Xl+qJdIFsnGXidEwsRiAf6y99dsYXQtYYECcCHD2aoQvPWucFz9ORg750JM+sfhoPCGcOoOfYmlmfF1dBNVCkrqjDCPY3n/2d2LaMHkWmpxzX1QOxobR4bAEKUAgyL+MEd37l6QXGWddgZ0lhjuN8aTYSAmZ9ApDjAsRARHvOPsWuIXogny5PCgYabuH/m3lLbV3ix55wjbobAgLt8b1F3xsdfw1aj8z/ylSDe0ETAuvvny9ZJ8+PYVVuxxFihkBo7fAeQwoUzIJqLNZBTv62L3+nR9WVgNsf14KSiZ/8KOrI6LEVtqYbLUR1f0zXCWegC1ZgvQZpd8Ep6IjbDKwsPaFY5RIMG5Htv37EdjpZZE9gY4zFinsI/w5LP+E2UHHAwR+vEV5sGgzIy1aL1P4wKMxlmB1CXQ/fBp/pgWmU7lCaa/emUoc4Q7Luttl0Gd/IyTXGNou1z+wMxwnUVt9wWnz8NaMoPJGdOgnF2VlFgvXmtUyAsaBR6wWNqm/Z576vKoGE+vvZKdGkBBBfO8ZgM0OCYp3XRxfTDGMqlkRQJvSPapv0OUiHhKTBtJs5iS4lr4YtfcNbCwjj2+yw3ErOSlq3IVYnjQtDraDbH8AeXGd38bja5bHHPYPzUbnihVw3n/SBGxd1JfpHRAYniQxsp/HLRZ7DnHFIn4MCVB4Hdg31ScvlQrvN8owzyZ0RteGaF65No7DMfmFlM1AiyY96pgmGQ+CuDzfdF3htUxjsQ9F9irYf+l9jZbHI+DSZNVN3sZhx2b1fzT6pcHKS63v40RGmNpHsZgZyySwf/TjpuQnEvkA1pZ05UZCeBdfMFU4rJf8TeuwkZ139bSgavpKgCjUmt52KdGeb9YUysVglynbLl1rmRUyCsJ0UDfvFjuGP8UOScq3Af9Xl20SIO6WBTVRxE6ShomaRp6y5r1IwU22E07yAHbGXpMj2WsY/Jx6qypFQBoFY3zwUoGsb3mw/oGwlIpCTBN0zpUygrbWqveJF+uHQPoc+KXum8DvcF0fevx2E3cphff08wFZYZdyq1D/TQmF5xHkY5nKtZ20c4HA90IQ9OYDj3Y9swCi6BJmn6Bi9Ki3Oq+G8on7muDhCDpKhQXzqK7AwjbcPCHSVRs4TIJDNoO+wW39BGVlvv5Sa0LpBQoLMIrG2yt7XKiSL+hv9EuF5lF0v9MRsHVi6TPAYzNp2+B/1RZyeCnNiQqtEADzY7BmL7U4q1cYhFGJYezkkPA+jwBaRZj1f0LY7VTpEOLRaPO1dy06NqOhlUjNvlOOp1lBw/5rIPVnA8djYBXMLb86rcs5eMzpEK4r2aPGfmZzmsHB+7Mgu/Jpc84Lx8WqvBlOsLQZeCY/OJJAAX7zIlH5H2AuKeAXICFatgEI3FWTK87bzS1DdxtoTvV/JYeJtgqwdy3rMVZCyy1FtyapD8aUp9If0o53qkBn5gOurfHISBISqwXjcPEzd3q0Cjb+kFxNbYwEQE01IiomUro/7F7Cfv8LHkQ8gmcZaQRKoCAYg7bTTx82aRpDaR8WPsuDL+y9MLvPKdwDxAaNe3Qvv1hu1kOSmfuAouSHK4zQRBTMd+bQG302Qut6BflKHM20/g0/qLyqjvPHCe1yBB/ujmLKOuPKEhrdehCol1Mb/5U/WRwAXpv5lFLkQgVovH7sdydAP9jq1HkeysarYE7846dWglEHltSfRnih5kAaJtGBHWk265pKJZFa1KtJRqM8y5Lo74To5ojHGnwTlChTrMWDfpRPF6kQ2fKE+lsvovyaB+LZ1z0gE5wEGaEiYVeHDrxuxf+NbVhmghQG2+W5q4AdtUeTUFgxbp+/RlV0L21zTZOk9bZvlOH4mwV7pJ+Wuj47953sIsANcPd4Bdd3mvacTIM2Hw8TyprCTepHyBQBfeNduFHuljua24IVWADLMZZtNQJuGoa594ntbpxhOefcstJYK6J0ACHXMk12/X9l4ZmdBjS+8xdFjFUIqjtjs84jh40dcRG7YvIAVnUXJVr820uX2N9El59PpTDE7i0LgFkIr4mzTVMDr8w9P7t3HxrOC/j/6LzXKkwvcCemMj68KsQ0lyo+OAj48QEd/z6PoFoEAfOCNfjTPs513+puAnDIl9YpjKRzI2E0qcT6ucZVR235PGivpZtbjatfJS3xt64sIqlUiUistH8wmxIDToSDFso9g5Ogp+nEMg3nolqKC63hffsfAnDA7SjF6XHrRIoLk9wCXgg/RUmMSymrWNHJ+AjySvawu+in5vx80nyb00czo7XD8GBdXcEYJBDW3VfOb9E+VBH9SBcEDC0WuLw/REmgXpBy/1o1iOc9saNUe24oOaui7iCJ81WDN1b/VjnCns06DjzvIJ7I9RYNBch1L3o5+o8rnpmL1hThiyfMwJYklJfjB89k2idUY06VWSfFeDmMz5wrLqdDY7v+iPZE880icMs0fZ9hXfve/7dgwtSaTfn/vSJFtlwJa+s1L51sOFBOUnPH25uqa3tZHg5CVn48nizA1f8MdIr/44hZ55e8gJEJ5W378KhE0bSAq7zvJnlXIWJABtRhTC+2fhR3RZV3H4PB7BSPXjL9IrdYjS7bAhaJzq1ZtzM0fvTGZy9Z/kDtoUPFXAy1G74UzefrlmZ6ibgtnku/r1Nlm6kMkSiZ1nFSHeOilogXaaEJLqZRQbHYUP3P/tn8ChTnN1NcAADjKkqie141EZeBGvB7lkzfCD6y8JPbt/WXJNUZMfcYlpXS8Tc1H52HKbpP/X14BXD8LF/SNMtiXtK3CQUHC1h+9RCRGIa3vXIoTWqjwc3a6pltkM0vUpbqwOGWw+f3qKxE/9JqatEhAYo/1edeETunrNEmPH07Hl/x0hIF3B9SQFQbtMmwjK5/ozJ2LUXtwjN2eJliYTupB7Uoomj+fWyDtxs3S2GBvQLYkjqW6Tq3wjh9GTCfg1/a5ITWtk8qAdjS7KweSFSd6iPCL3k351XrbqfwAHfI7jKip9sSWrRYaFedPHylWd/hDYNaSeD8M9AevUsONPfm+vZdopwWSwkSl++wGIMKWd0pndQT6eVyqXyPkqxmd/M/N0jS2yumgK2InTTZt/OowRAoSMDgSAupIoCyrM/bjI5/R02+2h1bZ4KKSBzpNN8Fd4zn12dJzrjLNn76/Axlj1cKVTOoOeZ30E3z0MWVZAeCXX2rdKA8WyBLrwY3YIaEC7RzoPfqe152OLS+tCKeHZjsojcqXZ+krBFcto3LViVrbaXYe0GsN0f0HdFA62LNzhQOROhs3O0Bx/GggyBbQNt+FJDgVYTU5vxkLH4gX6A7M5Z/usGDyNX979myo9kfLAPZ6H11abbzhuiuUNisDHQNAV5WXmM4e+50h6upZzMgkByIr5JEul/cSJIAqnrd4AS0xTurTmZvi1ezZjFO3SkXFY3bFKETKjvRyIRHgJMD5+hsPMfOPxybhTxwhXXgiEPFAxZVTtZ79B9qQhCIOGUKfa97dOnwfv0WKdDjjU5CZfwhFi3wx2gnscsqQ+La4aFvAG6lMFgqgDJFwsZLRUyFrP/UEl920qpESNaGPkj8EIDhhoFsYc+9tNcFoJ5nakUt5sGffyyggYTiVdIcmVOmO4lb1OOgHvPeokArWYUnmCC2FZySqffWv0YN/A4xyrXv2pXDXwfZqXViXp4SXUTC3aIhpRl7uRIGu12O4hQ6Ve54ymfGH/2B778yE5ELtuLlRxv+XFV+HZ6pO/ke7AHBlhAXKNZC1zGkF5968o/cxxKVdbfkrLo9zju0jH/F3rs7YGBao656ipKsAWRa2+M20At+zDykA8Wylqed6dvXOieKEQ6E2IU9r6EqIPuDAIsC1JNVeTHR/V5qVrb7NfCFLBHi/wv9Vvij3TbKgAVBMrQfOB1uHbBCnbUUhckXoBpT2QoQWYOG23RHBU5cUJt9hWRZL5MggHPp1smc4Kr3jctnKw5FrByNX9Jp6Gqs6a2REPUwKMdPYiBKKU77yY3p3VmpH/DL7KHW+Pamzr/BP9SKbKTFg0D2NQCqm/r3tLLBGvOqtXv4oKhy4c2PyMPAwmiBu1nJq8dKeKDHTP6UyUViU0gnO+shvgvkDpfCLCND+y+Wy1kcTx0dWZXQT6GSrmJwMWFJCkhrFUH91Nou12W25cUDJN7xfs/S6TjeVRBW0sRD34B3dzR9Ldmxxr9c2cdCc+0jy+YgsWuBjtsxFG9dHsB8BSHrzzUcAgFoHz23giyxeYE1o3poCNIQFUieEZDS2Gxsdy871JHd42JahF693vVWe7FgfqmURckgzCHsbjUirYiJwioLcJYTdlSpDup9larmiMIixQruIajNc5C8x0/reYl5058u8HukeJp8IL7JCGSVzFUMB2/q5v2QUfzee3kK8c5MlOwy10phhI9wit9WDr7coO6H/vcNMPVVCRB825KLU/O6aXAO12gWgpEl32QPKryoa5IMdqWLlHUwQSOOjedGFFFHNtVGfrV7TvGkW1Bl31uVEo/gUWAjNyYt6O6rRtvevF+Z+XmAxAnRLtBJAv/b8qg3Rm/QpDi/T3Cs+kBs6aSkpzJWsGab7umlJhCNw1ktDhAgdnWBZKj2Tmhv0/6AJeMkr117q8eOJ51yWQGg0zNb5BhuK6gtJkIlRwKKWYB5kTd/ndn7iRfowEWSkM2hMyAW9oj093RUDH8BQt4IMgj/D641ljPOjFjB3rFBbtmshV1Gev6T2ISoF8oM38YDTFt0xK2D/V6w2c1OfoTKF/HeGxqREucAmLx09Cr31RWvoJxmIDpVjNKzFOcUcLRpGNszpXx5MuKozKnj3H7AKVWrDdF8iQpe1aCmOeOz6LK3ut4h90oPpF5qcHRqkKEzss3wUrtlpN+WpXoDbEoqgjgSnL+gd+LvGCYPFokQIRLSbQhb5R6qty0witGAxFA9OGGQgrTJ5nCWBY38ZyOjEIGsko0g16MvHOFGxmXHeVFpc2IP7uD5Xbw0oW1Ygu1kHXeEPsgf7IT/ZZb3JObFhm1g8wtebT3bPjTKcP5qRNzcyVm5I2iR9tEFxWfzhsmOqmK3YlHk6fRd7Ztjz5BUNf4LhWKg+j/U6iasZBIKaA3ceyuDPVmPq5PIMQF+CDUb/CHjhFqXgpkmm4EdP7YRVPVBjoVyufGEkJk/1D1+U0j7vstEoFJW6Q59liotLrEVn75A9HuDDc7SjUXgLRaPFztL6hrxFF0h/boOVlstCEdgZ9OahsznCCZqLgoMYaNTtpanhdJZK7JRL503FlxhY8r8Hx2Mwo7GFjiO2+TZSTZVvhAHqMytIRTzaQ+fUE2IJ8cFLCNDOtaotjYqVjd2bulWrJUBxg7F84Tkljq7ca+qxroun2vRjgNg5Bxo7TneMqQ7il/FQWHgqu4TCGNNojghILE0Az7FJQuK6XLOxr2r6hFvUhCOHNWpkseWIgtKxIDcgacArzxVcNUFnw061qzr5HcfbRC0CdF+r3zmrmG6W0Ib2lE8mttKQPKzdLEs+55nmrgTA4cNS0FNzlO333ZaX+LVUGF78sB7mGvIZ4ZEq5IK5Owy1C4oH1EGsyFKVyPhq1fI7x6OmrNBIY1WsyxY4HQZX37sUrypadZ+xJ+spqF3p60iWCGL7LESvqG76P88fPgPJbSGslHVXPU9QCI6nf9XliaaSpNrTrtZ+n+Qz0avonluoIBjKu4FpLRY6pPw/ZpynVxQ/LfoetfhRfvNv3AXdksoLXUhgYQ3PfTK8RASv1yFJz5a3LJVSsi5mcLTOisOvA5aN5XLigXgdlZfdQxkUzb3kAmv23Lz0RISrBb+Q15eUXGAEW++j4HW5wBFlMGAO0i7/WthUwbCjp19RP3T+o+sND8aG0RAYQkYX7whQIrgwdwqRCmOQNsDHOcGGFPdO/8eRd8Nh2NrsRKXkDzYWPzC9qTj2iZgHlwTLrpz5r21A1Q8SvjK683HThRUD08BnJl0cVNsycyAjMZLwjA7IQ/xTkTLG0rWBKapje5acDnOd9XlHFGcIlDvVUG0lw2RY8lPpsHwroxCuCK7fCtDpuxJEwGjvVKT7ETyQBIC7+5coLZ+AIeV+cZFTc4DPUWIxFjGAeJ5Ok1ei44Qvej7VuO5sMGN0Fu03Fxg5Otwp8rcnfkIiSvs2SKMW9vXbQHAD404N9D4k/fldjal+taCL9pROk7DgQ8qbugwTIzYeJsR2H2buw/bhOUnL+AwtFp3UkkjMhYvjHa6/aB/KFTBRBv83if2wIN6UiBtEYzoY6gTkqwI94CwGYZSaK4AnT5zgunr1b5riZLYFBwPxNV3lYI6FJHvMQrJC+FZ8oRg4fBk2n6r7RWAGx1veqLItXv1cz3JWgHNghq+jHCgEQXi98unCXk1zknDCLWSpHuvY4U/+X5ybbKdjRu2xHOx5VaPlLLGNLfBZMFK7OMsyPGWn5H+miGTl2Yv/i6IQhYHqZqt8tkpjoaGlUvTkUuQoiVYagNXnvNXt7hrgz4f/3PT1J7I9v3t5FpH5O6xP6kido+hnn5Z4VOMBrCLJaGB3I5vicprrPAwaRAIkH6N+Zb2OjB0uV8x5Njx8d1aM+Ndfv7uXqqY73Ew7QxZp5zjSHq+cy1cwdqFvCQCAIa/gCE6jImmrOnLc1z0Sd7wCe/mOsQFr/Xz3TInM6r7wExsJPH2N3thPFQYqOK0GTTcV84NkP6U4+wwz7KWJaarc+u4c6oirjlhF9lWAoAUpu6jLHVejpj1Zfr9CD01ddtnMcI1upY6LKqvhjScLxgAHDl64snzWWkLwM2bSUWWjAvkrz3BEjA0pk3ufKQ+UaNMA55HRP+eL4+XMhtRlQ6mNym46YLiEtweyJfY85KhUCfbh6EO/fNixBwQZ3Epzngvz5y99AH2yoSP9KKN8ZV3m1iWUQoY0AUO0+Z2rJQsyPxctziyiEIswyBEGZgx5dyadNHpcoyg7RvIOoWkAYAH2jQCOgDBEoFKQCaymceDZKCQEYey8DoUfAk3bxfS1HDDkhI5p2Tsl0C5BF0+Xoc+tFnbTGBAOZhZZvaISZJlX/RzaNpxrFf+7zK4U/Fv/4zWY2/A0cqXwSPrvO666KbpyLfJ7kvm0BegdApJWQXyMFrz0fkyRkVZug0SNLn4KBUSUBf7AKUx1bfMm5b47KZe5k6uxGaeNz+nxw0NP6u56dLOXqt/OfIDjQTgmVZhPOG5u10vnvwFT3f5HyIkLmSDPZjzctmQn6Q7ynk87BolU+OmyuowXNpjjcoyIfFVtiAtfbSZjVdTSST4L9dNvDM6H1xx+JDtJyAvF+MrxESsS3RmCsmjeodTAVheftNer3/VhMuXMYwtadEojqkU3RxFZheT18RxxI7zxns4+va0xPpasRbNE8NL4YmxuXayos3TdG0D6D7t3zScLmgyRk7+facY+JNFrrnSwKqYnNKYMOi7SbpTQTe8IBWyRea6yuMGPsWdHu9MBFCG4agHUcN/jlgXAM3uJXynd7UqXr6dqI8pMCoahAAIS/8RO/deARoEhrrSpxjjCLEnAZdAjoXaCUPdC/Logj1KW92tNRFWQaadH8fl9Xntpn88fUwnYUhxeEfYEdplApGV1DsfHgvJzi7Kl1CAgfXFWevVNHHi3LhGkYvAHEpUukEK74qkAiPGR8AXOSm3ALuLKHYkLmwk78+Va4RFNZPCc09kb70KF/YBDw7OGW7U0mQQ77PxytnyBiClZfOfM0MCVW3wF4kanaoMtlNZUfNPhfuGxJ9CvccqLcyzgzVOnOG+vSP13fmZ/lahfuCe5EU7XOzfvgrEKLALEKX7IDPgDkmjt/ntCstWFz/V/Kt23vdyhph4BCb69o6g7Tyfrvs50Sipl8X1hbEvQBAkavYjg9gTMaVMsx4sVZkfJM6bqAjv143A0yQ71jBOUiA3rdGbypafJnVcB9R7IM6aOHa6L7MyQ490SAYhbgYVUzn1cMEJJJXsQMT0d176LwYczdglP27XKrpmXba2J+bkIkxN6567dyJ0Cr7fULQXNopetPGd78RF81TVhCIPPQavaEwJ8v7gN6oK8lSWLtp34j3eRcXpLYhep4HhR42mAhWX6BdfyhLjLRMae17vFJplEVrnYuJP9dSVnq+LDM6gkutcLNjUke3c2v//7FG9ZvORHeNwrsU2SCslzs2NPisUeWPlN26qxPDuBppNpLY5Pn+wjPfw+Vicl4HoOsQ9wB56WFoOv0rMc4bOX/Li4od/T9dHd2cK5kkV+k3hKZaRRNoZQnCpT0cpAJdlQctGKelBrWS5BFmlsmilMR+O3NFQQTVV0Qy+zWT9B25XeeE36arTc4PK0fXZSpvs8/ctfn8htGOVD0VbtTIj+TJESAETd9HuD6ZTZSI+4FHj9ELPu4P9Gvhg38OiYTOcbOR4LrdfzvogGIhggPI3XJLj5BOYHnW48UujowP8Q3Bptbugv7uZZo9tm2lQpt3VGFcryPrNKUwdLKqzMgmJlGdXJ/EoeBDy8GD6L4x9ScrBTpVP+cCCFJA/1Z3H+t9FUTcpWBjV+2/G2BKg5JitgRhyBs0pTqJNW7+gpM1Qm4TfzcwEpzVGSZ7WLA5LsgEwsA0BQFHz4PjSkR+B4/2HhBHlqLkEZek8wbhCVTOmCWiBvyK0Fq3Oh2RNVxMZ8R6CLq3W/YO9DTTw43zFTK/lxQd2eNCCUPKx7NbtBBnDYPT5QT39kKOfQ7K8wyNKE7L8KYgj5/aQyEj0Do5sQ/QwH/r3DlMcSEBkQi/K/xuHuKwf8BG20xPW/Umc+m5HCCbsLcS/PSf+wfP035lWP17tCGslnthBIbKxN75DJhEGDk/XiBxudGn09GM9XQa03ul/bmu9znikH94yZLoHJOuBqTrl4v8whebzQUeGPXiwZ/jILqjng6GqK/OpLK8ykmT4mXVM5FC46V1dDJHohTrJOo2uwB+v9BXvHEhPLDrFWgEvXmjqdDz+y3jlxhosIFgx5So6C7P+Nf4rk6xu6Hr1oqFMYfdP5YjmEFaP1QMTatWl5+uj9d+jyrMOmqXj3gIZzV9DrFdvrtDHAkGX1P/NAVOxpHnnlkFQjhp4YfgK19S7BNU7r6ub8LPZOqhwjGb88JGwyrGQ4DNckoMIG358iOlyuncHlT/YrX3AoxasjbUJtVFA5Nv5UZJM52GCl/2x4FcPF7s8XWBPy8RkpGXEkCAxGL96KszTCX+AgI6vBZJLGNx2OmvzRuhy2ym/M3Fm52iaP9fEsyIdk2GrAfF9bZm/l31DYecLD1/jZW+oWA6Lo77ZIsch2hw29taPSi05wZiASiPsfKiDuX53ikPf6sHUxkspiU/ogAZ02+FZEAaooUm9/3yNWeI8mW2DDxpH7zSxUX6LeF4gSO9xL93tSuyNx8DjcWrNnWxnBCoJB6GEyh5ZJKLIgZUhdIhKifCCbYQp+5H8aaZOFk8sPRFn8iztnLbMjqDYy5zqZYjm+4qIf1I5C9P6Qf/9vUCKraqlSjAx45LiyU7jYjPcJ0RL3P+aYR6ia1EYZgJCL9yJbYujyFrXkdCrgoi8mVH7iPDvGqYgALi1d3n/fx4ueJHHLm6buk+08X5195XCOZVTENeiASKvHKIruWg8kzZe2m/HSGCYmSJ8BVkG+sfWS8f4hlBDppmDvDKKEb7ISqOjByREU5b8dG5fhoJODsSAjZ8PWWBzo1YlPd3+V++90q/GsyI9gA9TEvPkxb7K4o6zwudw1cDPiar2CKtB98robPhLdXjTTROiGEeRkM9G3xNEjorxG1BmImbs/ZCUVtCPaeUm71979EJSl1cCu9QHxj6+tTrNVqIY9HkOgH4cgSbuwCX+BRsOfpmElzVeIoUjzVr/QX3v2fI085/HIkJfVbtb/tNmbYVesaKU02mkl8h1gCFeBPUlK2YYBCMf8BWpnWJwajLPMyQ0sv8W8hbe2iWjQmzeKk78t5xjv2lnO/f1bFlOCzoJ+5asJenKj0psxAm7LkkXCn7p5jrSjiaXrCEwGQSu4ffiRZn1sC6IkqCGKEn/e/4zjpf3QkIAb0YhP4U32M1FdoWKdKRZTaIT9Vnd+Y8QReMeWLNcOkYaxkd22MKKvMD0yEZr7zvfHfQAvllAX3H3zrlfuWsoDGPmrEwV1Xe7PT3UAof/jii1dS2nUfvfSYYaQ/LTYK2q2R0pSJslX+VScTxchOTfCPKsJMtQu5jNqYkuhQvfO3Rl6LNI+xlogqi1Z8ateY3b8zRMx/QSJog8JZj5qKBlGFgsve/Z7Lk9N4LbG7DeRaEfAtKHcY33uUkuNvszMtXpOlewBi7Gr8KVHQJxoxk9r+7bi6ayIx1ctdu0/nbs02a3+V2oBNksZAkKcm9lOo+VGw+ubVqChz0AljYfL2ieubFu3xdcUC2CXhE9mQHrdNbYKQX5T6adSTv5EviBVtbmHD+LTrubM6vURFDTP+6zAhiFQk88hVGqXoiJ/pDWBgpJnYUwKxQpXYLZhzVPMt7BdfR+P//qi+bXF7XlayGzBxhbuweYsxBU9iUxiePo6TzdQXUTg5R27Ug+wf8dJekh+0M7eWy42O3AeI4LCh5hvqUjwNyEYllo19XYfZEVLap3HUobs3CjIqhcyx+7NZYy3Z/x1jMsNgfFQvP4PpJlDGweU2nSfsRGuhx8wHCtgxEtbCVjeDOr8f06yQITpV0WW0cIrdBdJPQUgLjZexAL8kqXRnXKxJ/73CJzNLqzsAGJ7cYQ+0SsWoD6tYHPJvKgMYA8Ib/KwkzKiolHqBawDFUEVxY42p/obXHSFmHLWvehMcRVnvY929HPSWQoBBvyKLcs2ydq61tooYoKvUlO7iDxS11lm0G4aMXYILnfKqg0rM5FwQnzhm+gJiS+QEtSKjFSQTauime75gNi/QMp/uZ4GTbLQ1+2ydUJfygJg2t6B6nhY6vMdz16ysoBK2tBvXB4pZXs5k09MwUTM24xrVaEW3LO2xb3t6XTNRZCwDKBJZEEpzju+M/d1ukRqsmBsgI8JCDVWN8wfW2aTrBBVCpmOE2T054VMMvmsOmOPfdni9QYAhnINdSX1LSrBZmYMEs8oSkKx2bgTdS05O9JmQk9yJHS6i5klv9IgMSNJrVlcif7ruIWACGKpwLvKeuU+bS2dskWEPumLX/5jbT8uiiRH7Vpz6w8VkIcs1N/h9etADPMhVXDGbVoAnRcdJko5RmJR86lzwwz/fRLhdTJkvvMiRyDxMZkPm/b7sMiolMTQbNe2svHC95eQRvtAs+tccql70Yj1QNtafbvcRmVcOfraQH7CvM+0KMo+wjdHfLjVRGoZ4nxF/e0WI2dHc/vq6Ql0Ce10KUxasPjRXijvSNNRRYVx4JhUuWquC35229JZD/AigUcGjy1jEjgKfX/cIpLaRuRH+Lwh9dkkOzT4MLaW8rgo1KMP0iUHrPFhUvaAr0hU/UVUGXr8qBTqZxevUGMxlxx8evsexgrMC8vyX3DxesJkuiaLTLfS+CUq17uqfs+vz5+PGdBKxJ+5jljHr4mi6SdlbnPu8bJ1mE6DNw7MfKxRnd0lUVXMBF9jgewRPnHmCTxH0hYlTOIdQQM5JT26EC0gdcL6fnrwBQK5GbfivVYifC9rg0Lx+MYSjyAqQfrHYn+Up6I1sUcRD3vdmRCr74VtRRDJvuiAMDExXPLH5mplIjFzuosf8+bEsG9/pRzAZqsV7fBXnspIpKCyouD4GPrMBuXIdm2JQFY9WHyFR+d2KZHixP0M0AgLDHlIQNDtwTRHmBTy3rBhdR3GuKFe1ztVGfZVLdvTScCoBnoqbsQPdIMz5Lm7057jZhimBeQ/nUEw+GkXNThTfTdfnOjHI3hvyHiuHD9TqEbktOkw4y9gBO9CbDszN/AsI5tghxTmIGab6kCoPpRE+COStKuYEvJ9DC0HUDG5TxfhgG/RiUh0UllsnXaxy8mHbppQ75H2ctjLOvS89RbNmw0Dy+VU2fQwSFW3fwKyeTk2nEPGG5Dq7SlXoNUvDjRNs/k2FOEbPBGH5pv2vp//kZSgxCeS9jXnV7c9D2J0mikNSYr7uT+Mjni0BeMjq28jyHPtLrtMZ5sq6yAigQMX16XWIPfBJgmDSeY+yzPwAw0FmqR2hKcqtli/SVSgThZm2GSKOJYhdba2MgNSzSKN3hDDlg/UDl0s078ykAiMyPZ6LqAvDCF8NIo+aMXKchzmLoFlBYGyxwuOoGQ8KOlIMNMk++frdLswhDI6xP143gPnqxJjKgj6B8CUN9rCZd/rrPVx1MHLoGxQTH7cAsMlxK2ELmZ9crWipViEOuieTPZgloQSYltn4Lk/SRzl7NETRF1cP/wiI1JsiMjw6zOfn2OecMtzh6mbBWNmtVpGTkpickmiyhqlreQyTClLcR5eoGVwtslbdmwo75TE4qZjrOrWH7pypPZxp6N4r+JmjMxhp1We9fj6JtjwPdFRRWqRLQAv+6VsUfN3tF+9pFPSDAabLrFdvZaiHrDzlj8WiS93cxJcZZnFSbrMQQw7BYeweRxGUUXXFq7MV6yEMsPFeEp3q57GMNj3LP9S3O1Z/Dy1sgOXTBO7S2tqm54tVHtoPpQnac+zpjxTsDOU307b+RBYIOt8mBgVvfnT5dX0o01TRey4cYrHaHWKr4dFjWjBBptL2pZiLdXFLqeAOcnTTHa4iqaG1H1viIBUE+Ap0EyGAcpt+aXl5CN6TrkRhl6dDV5ATqXb6I7PvzjnN8I+/G6haZcl5DKTA/sSLz0dfpNMJbYiVs6VWI263F2S4+b6XAiaL47lgdsTQ1SDRIP+4sy+XI689pbX02yp68H4kxA2TFWnED7CIXraIMwcFZVffWeA+eRcIB58R8Asyp9wASpO+TbIn3uu8I5D3UM5CpSITQexjB3zijWfz8hqJre3BPM4l6NoVGZnzCHrLn8/iyMA9oeJlBO4HInS0Z3QQY109ycEQD7XYZBW3Z1ubTr6yOUk17Wejv9JLwvYBoHC68ptTmsJBf0GqxfTy5T71LbnJvTsc7tC3Mu0ZCWAs4glqSPPUgmKImcvb47VgdJGV4ADzWxW9YrSN0MnmUMmVi3DWgtbCJGfZJdmarClHYuyTe7vw8PD6YRoUltJP/3GpUzlizKQ/+nb8VnCUEgu9+pRQ/rPio5x7RAntNhsM5D8A+yZXgSAkVfM+gG0mHJcB2A48AKa/AlD8ONNXkxfr28/fZBW88fcaLZwycfnX8Mlew5Y8rx4TgdkiBPaqtDYS1LTKd6byzyO5uZC6dERjeofkzwR+mT9lrMMKFsokFLiCJVOL0Dn9K/fRkdfqHd1+hZr+WuB2IASqU0HeaCJ+jPBk/kU3AmdbkTFLnqX2LzKKU9M3E8uXoQj+2ivJSkV3TdVB3+i5I047VaD2uc32AVQfqUG9D2yGQ5E/ivoVo2Uj+fSffUKH/p3lP4LrwuUzRTlweaHufvDn/9GBWmQc2N5rb89bkh1049O80IyaFuQMSo5SJreGldWf7sXNsHvSQYSHNAlqNOmJruh/pcxREi2iR0R/NN4s8c0u26w737Zxgw95WwaBVp8KoQMq7zqUit1m73LE7ZDgDzMZTufR608M/vD+HhA9JuzJAW7wgxhlVVM60nIkVh+dJcDLOdzAAd3/XBNAiG2E75ZwfB9vp3rrtgOqj6GPfDx7/aW5JTbIt8GjmUMc4LU0emSPrYsKP/V2nmLC1St5vzVlaGyc99ZR+WvDAE+VDPWmZeA2QKo1Z1UwRI6ubuly9Mm5i8tpApnlgOFA+1Mg643Q63SvA6BSBYq0KU/40BxAxf1KJBgf20mcpHvlE1DsgKtwaALyJ7cH9Y2PCoC0kzjLiVGCrpeBOZQglx/rUk7czhrfU0/4nqOA7cGJavUr0H25hzs18P+38X+f1+368mAZ+F2EWIRTt60q4gq/22cYFhxxGUSzdE+YDnHpC+ohnPFsVMfWU04klKvT+JqmHKTbXSVtW/a/nShKrbfwHlkXr6G7Hw2C3l3Z8+EkZI5zAoWxOhuhlkTzlUVWrzuOKNfSi917PHxUDtJfUxL97J7tmveAf/tUmpBQGVf1AUXQL3lIWp+ppmTFSlNhZH404jHGlm+OzHYUH/qpZX5Vbe+f/djUkAQlhGI6Vx+2CG7MICNRsdL8hdAGJkoFPNhh+2CWNAtLXL0ETYByhP4251kfr7sEUDRv8QFjrhSnYORE265DB7UJVEw1pMgJ1VGdTrf8EMh/WxQLT1wNjjEvm/VCQRHa3o+uxiWkk0fIojjBdxYWIJVdRWOVfML0iCSRBL9wbKYzOvcN48aort+QE63/os0EgVb2r4yE+1Tr4VEXQuZBmoPw6FDfMjZoGGvoaI6S9lOrzOlCiMZzchsVQc97x9CGs5K/vHQn/b6mOEa6U6VqH/Lz0wi+yBpYlVgP00ZeAwdng9raf9RKucBNY/byYQo+04aBHUQ7ZxXqqGT+p5ual2ChGkASXSObao4OdQ8OnB2WWL7Yc9v3vyCuXZfHhXddXW8h2R314dzYbwI7jYBSObVxG/LLreFhJlAyesE/oZ48alFPWAwITQG8DzX7nJERy0Y5XBpiPaFdW69wi9AuGqKg+096ONZ43wOAUHA+BXjXAbFchiFfCxuvWJQYzuSv7zKoBKJZnv9BTgPlvGoP99+OartrOcAH1g1Bp0PBoCRFjwqU3/oDtM3KGH1fi2lm5K6wBOIdmQNUxvTWpU0F4UiI0xOI6EnoElKJhZw/R/9rKAOxqI9LZmiwQW+fVRcdgFpnOqFosQG8fmjEN8p2EB0iYCYx+TkPY2mU7MTvc1ftj+AuaH+GgGAoU/uMPC9Fy79+76rMPDCr7fDtCBXi8rvzDqDNedQG5cjB2iU2CpxCaLzrIo/5aJ3SQzgvStP/DOBX8bbZCfQ0aL4nZVQzR3lAHshynMvVyroXy0qsbNP4jT+BXVNUN1lWYjOG7HdYVRdc7jM8Bo6ost6z84J4nQOEcfYRwLF6PxoIAPX7j6O1cD7LUAw+evrPvnaY/hW2mqoKraPdoQhJgPsVeepDcQml1BLjp1JE//ZYjTtd7lagGm6X/4r7uUUzuA59+9BYIoe3acgltMH993XnxKuFbkHGcWcg9OPVHfjgNluA2nOGBFZJA4Nl2BFlhY5iCIxxqIbqGsoRsKoa6wGypkp8PekXn+g19Gl7yR65wN0CR4ifCDGCW0/sRoStFtDbGSkR9MKbwM7dwZVVr8irioDPc8aobBTxRynHFrAXtUEbpNLQYyGYFRQWxRbmnYx0Wi2OwNt8zPlaJVEsTKHa4evuorbBIn/+mezwcXLnfFBa3X2v2PrQqv0VFnxOtdL4xCb0tCvL+BFjnjMLuj0FDCLi90p90d5y9oqYG2NXo9CmJN8S6eSkBG1fsIZhyHf22J2RPG/f3un41BkdpUsg3mINOyrET4dOq5/RX3jI8dU4GxdA7PVeyxy9EgcsiVe/pHugmL0cBwqL3OYZeYxV4HdQa6M9SvF5PHzqdQW0HBhIfV1b4neL1bZNGMSLDpqfVW+hQnlKTSrA3NHm7nNvpcqY52TI1cCYsSLsitfbjjf2Px9ir8+YINiFyYv3B1NAwpEHygViexBMBl/5j+x5v/syuOV9rAopVvyvFHLBUcdcrkFnf4GEhD44b/I57gJo2TNxR+Ra/N/8oLg3hq9YAoFX3fW4mbcDSCBC/CMrfe1O5b/WFWtiGlWbBOHD4DZoGM7K8pFekuacpSPx104epoPGppg8YsKeJu0cU6N2/VoWywP1q98DAVB3eghmBopFmMolFZW0meVT2Z8X6vlXN/fJ/m2FMdT78nNrKjn3dPiavBEIGkvraJV76lh4UaPHdv8l7ogBXZ4//9tC8Xv467lsUDMDIuuJm05iOBa+hPEvzPZfWbH/zLyl9fa+Vbe60OpzLAE55A+l6l20wpdpgUVyJ8Ixn++64ZasKcJ1/fZtKmktylfUVfc3F/fsknCrd19iAT0Dg+M7WIc3iG9d+htcOMfIOBcgWafA49EsRYt3DkfJIPwEpk+uO69zCJv87GOtSsAROHRjdi8rnQR7EpiX2l+9Z4VwsNfQmJuFY3Zh8ouOTlwQA/qeKIUP6oI2QifKp0M5Uji4gM/8N2UR1cQh5TmTxMXYsUyWx4xMkWuQAIuRk0/iSiIQeZpxAhFlPpbNzRc9Wd7k/kkl1QSD1LQjjGGsu3+kOb70U+6/glirJfC096CssaIG+MKHKcma6OsPaK9qcWl2u/0JL3lDeYaiihlc56KvDDTufqyco1cH0gB6zg8Yxj1ul6EbrwBPW1eX6MnlIAWH5H+ux9oquRLDUHxqVUx+IYlVFcgLgo404SxBhqpAlObjNKAVk9xz2zr33ZL6kiMYh1ncJ8M0pYd83HKTxE28Vgauw/GaKtNcmB+kQiV5pBTHGS0e56ns9N9v8Fu2/A+SiHkkn5PmGpLsAYEAXaWvSA5WX4h49hsyNlWI1pUjYoQ6f+ttUsqIJA/nI6DUaCragxBd1d9Yize8Y1zK5gq5qCJGrh5yDEuBqrGMAR7X6ENkq2UTXr0ZoXq9/kdwSGfaWSJ/A5SpnEkpDr8PlLoM9MEeIvHGHvIOoT333wzvwpxmI3yMXNO76aBpPlZyG0VKkg2/BqqLV8zWXdkmO7ez/+nYuwVq9cJSdO33nFDu2ZAR1nlKqpfsFQJuC+Y59bhk4PIAausP8NNhdfgt8SSfiJkJ4nCNP44y1P3miCSiaojRn+1plMZn4GuW6yjuGMa/oTbk4gSFMkiS0aul4gxKFYjPZVfVAi3YmNPz/cm8r43H+8wnsgsEtBu+7GnUmw0gkqlAy8V7P0MQDvv77SknspydFCRy0NVtAy+t4L0IVtpB+q2qMfk1tAZbzLDtW4j2oFN+eKrsF1dI5QulP63ReVFoFczh5W67YE16vJX2KYW1JSgNL7hLA631pyzJly5YLirU7zgEIh62Y5tCtUNKj14nwk2s5mVxkWemT2BB91PoejFtTqdtym4SGHIz5mykxUxZZeU9L7nl+Ybr9IduRpzTW+WSM79IhUrSY0ftlIZ8XiSLw6phB2II1UNAKApcgfj8kPdA0tKcjFDQTEJ33PwVy2eAnB7Bi0p20m+WvmTVL5be4gLZ7IWDCVDoPjCIldIZLh5jxo9RnJ1o9WxE/jDD5fYsAtuYsyp0AughqpaSQCU38hOaxaIP2G6d3BrI586sp/4hrEjE5jrE7he+F+a/U3sPISNzW98bZbPa5s6IBKThn8Qv0CQ9UM+1V+pbu+jpLNx2EwYr9mWSsqMwo3CUlWZjQYHe+7mQ0a1YeYolf6RLYvzXMu92he/qN+sKntf18Y1d04ukun5yIahRYGW0/120gYGlDYaVF/AkFHSPhHQvQo3ITO/CAuj4yVQY2lYs0v4v2MajhSBH/aCeBeuhEyXosftsIvvV1zubeEHN/1xDVzfF0tDhL/v9j0yBaM5ZiX02qbPG/nl41pO2KROX1izA0rXfnWrf/KyUxaIryLdai2ihXZP5veU5V3QRy/P/xCXX9rR+NLO0XA3p26fsf+FjFrNdP7C8kBZKfIw8Cdl0quBBTmJ3s5GCwnAgxiDBLx90eDOqbwT58QfmLrhjyV+1fMqjFrGPtPA6T7awaeURRud1BzuCaNQjHYl/0oBbU0/ZmuokNAP6nsP0sWbHAzZMWE7ZCA//FX28JzVnVMOGls/VsT/ioCLY4bihNsfqgEP+algq8wlIzkGnZwNWdrxMFgs+hNjfSZAXVvpJeDLbNxsgbAdQR/gjQU8nXPcgPxvw+NQps2fsEGBupuo/tx7d2F3A3R886Dr3BSHV1j/EEpMJSS5F0v8rmBzSG7xxC7U4FwLlDrmzkJhQsAaIIIDyc8wfiwPZeo9PCyYWV7JpUByWyer0kp4kUCuFu3iTyfvpCdRzdzYvAskGaU/+jsZRjtS27GKmqBhFrjqNG7he5p60MWysJXlplXX1PG9TbhPpS7xdO1hLyp7ZfzuOghvgIWdRc4MUKKsmxPB8p90pjyfJ4wdim0s2vdW0mSNii3O0e3BHxuCbn3aMHX4CYhfm7os2ep3Oo+oSI2/SWNwReiFZ9Cx4ZylfHFL6CRA+vG4bmbwJS2khEEMaCt2XjQcfBhwuulOaGy7N5JN0uT2BAvlE5K0TCg1Xbi6w6uVOVFjfXpg4WJ9akFaotIoxLLz7kujS+Iqte9DuFgfIs5uOA93+GRBZhWPQThNDY60gRMl31qmzNiRsup1Wpjx0jLJRKXMGoRvHClWUF420rIQAG/+Sm/hP+sBmHvPjsi7UZvaZuZyaKWMJKoSnjnec422qDtd3sycwntC/ChpqUKtXTxtrS4jGHGVRKFOUeSgZM6QsoSgHMHhDmUdJXPWSH2XmhPacDXhI+XZmlPSY+QwtX2T/3t8YAfRmHARP02u+AC9lKhH77VtHPNkF6RbSgR73YDwZBqjXJyytGYTN58w6hk6c88r1Ovyt6GPEdZQ7TNRFKeZPYqfdIfcFNpzIsvz+jqEh3n0lEj7GAG2iJ+VgnyN9EJ1Zkhua3M0H8jWgJj3mgS3MYTjPMJ+o0yuw+WwGecD/YfeeNJSr6rW2LyEuTZ71KxHDan38wy/CQYJpXxclpTOqCGtUwBRRDiOOgSbh202ryp4r4puvXrCxTyAmo+r9FdsHgtvO4ZFyHWu+6FYutF4Thu1scmTKVhhYJNXMep2yLeqYFxPQIO52OcS7Y8tSH3tLdHKhyoIUy2Hx6abITwwRGO6d7q4QHSCw9ZNndZdMbNm/8tJdwuYDqVUH8Aq0eJoGYCavC2ETsfymcvq4rWE7j5wFEZ/5PFJV4I7VG4dK/MZrV1zMhlua8zB3axci7BCQqcl8GCEL1+3iMtMghAtCxXU1KQnlm+UrPnXeYxXZwoiTPZChlSV0ukWSRMcUQ+xlrBJKo8pBE03uz69NnW1BVaRyAkZH5YVz3ZnhfvGsV1QRUaxsAiakqqYIGzIITcTgl2whJQ1K9lUftZDT4/Cf6HnEMP6ckEKq+FHKqVIit6FWcyAu/mAC8KtvPEPWnivmORu/yEnAb+wr115f8BXcfSdwLL0JWgKafhJCYNXq9tiUC+bxp1mJTbpSYZaIfl/B91pM1p68D7SLJ6Zk02rXPkW2mSwU896LmgBOtzmX4xirkeGxBBQsWwr7ntSaGUCuGAogxe4oHbAYTU8flgiaomNC7Ztqtc62auBiUYQrWsg6dHEFwakX+tUtl6vbJYsv1qqla7viKmDXJ6jTrZ6JS6CzB3hZ9bvLvHjd8CpFGztfhi54oJlpNbGxjZzV+Wgph9sAa167iM2lulML4N39WP2iAXjnwwiAtvsuLkjwoUvgKXLUJvwsYodD3CfyDQdPdev26J5Efz0D4faCQ00w7VnZO+l7YKZnJHLCjJyMEgDHbCiPn8dV3pXSYCkxdOQ5r2heAwUBfpJ519h0DGwa8ougYfbunlZV2z+NH36Fqwt718k3GjEOxvqx2kAaoUM5oBSQnhnGgBzj2n9hYcZUzdz3Y6i/Zbamcoo56NcNf1uTQJDbp2Rjj5LArJ8hwetNzqUSUeO+7rXSAscSrYRzuHtyuSFuXjmvJkzvOqzjICLFBRrgVpDAP0rXFBshkawJ2JOR1SzkguMyjth/NClLqKsxQxmC4RPG8mNLy9Icq2DlJdo1w2PJCEz4wE4bOy/iMm1dn918B2/JYI+vQO/tO9VDPwkvbuWIWYgWgAIKmnZRQQMNn76PMsKhenDn551Cm7ylGPIzrPnihlUoy16crulOkeOwxMDKnbrgjjbvrXNVACWLHusADLi0dxorqgIxzghc7WYQfhfxq6eMw5T6JoSI2lO2alGSZJUCG47QXXHpg6jngpS+yL9KyA68a17q9eZaEU72AKvzPzpUecBRsObDNOIJFlnnBRA+KBmr4Dbp6L8QFTYAtfux9LjFPCp4R1VZFVhctY7DWyo/61pRgSSNeqIjJfSrUBFWXzi4vaaucfZHITBMebSmSm041Zwtf6fvxPF28U25LPvaAhlVhigC/w7Vdv6fu+pvooaR8FpMRj8Z/SjPejRf3nsBvPLR8o/RVhlvYy58L4n7D5uQ+tnC9B+O7Ykl5QDLOXeaWVsXsN2FOt8Yvv4gITpuW2wzqy4+lK2gR4nEOCdf27qjzGcxamxJpTGBMTudjl3Zz6aTrBPPoJQ9VkKulTMBFjuftbiTPB6/bSRQtjMpTcZn6mwZSCDCqChQSyCpkWo6fknCpFd6NISd5vC1qFdDvgIRZyjfHaacnsXdt4WgXoFv40zq347ZYP8y0wf2bL9QK0kkxwy7q05enBW8/miBqSfEIlwQCW8ufgMAGtYp0LreLHkNQMRs/+3zdw4Lh41fagkrP2plqzv0bPhXxVuyr8daoUgcSlcLHrLvV33iGw5ry/g29VSUgw+LALxbDSjtgcKp2UeEnsUExpRkNeH4Zeh33ZX+s5uIELZ1lD5oJZhS/ZPH5th8eYkEhC7vBVyKXdkKTlcamxc8K8sPyhg7Dw1HxcKTI8dIFGk9rF+BZvjmHyVTfXJJENZY2TaLSGlBBCep5BNnJGcYt6UbWaVNMwxO7bEjeCnvL75beR4okhVF2wISFPtO31UczCNVzCIy8G3ww6GUAUUOTEQJMLUwhIIZdkecGZriIxyNH+TzPbijxBPvL8TmnYSg5Wv1GonB96ltmc/P/UCLM5DrS2A9U6QgmiYJaJzpzlN+gLBpzAq2pCiBkhRqDXolRBp4HDsPCiSsDWOyqHhC5G/gTp0MwZ6FFvAEh0l7vC/YZQfDVxbpkrAhC3ZQhXBNPqt+OPwDIlBDskkCeevlLR9itlJnwlb1jhwkMhysJ3pACa11uF7ggL20dSvl/4gasxryW2uCo8uUtgJ4L6uCXv76GkUtlu7B6QlO8+nrRZgSFeOhle/sChPbfllI6WOBFFRbfFYN2aBoMGGuEgwjGlZpGEOFUSBtB51+As+pLlY+F1R+udGE2n/yGYOhBvCVNHA/0x23I1NZrteN3BFOGsbdcS8lGMkrYy3PH/qyzOXAHDOfb1AARjWLPuvfNOoVVhT/IMgyfJFo+hoZW7G8wYNcDR5w1WlG7NzQjx7pkET+vtyFcPG+1nLsmEGPy06RxcQsW8jBxpf8FBSQOLlNKKXLYFiWU7l1W3V8F3pegwlFRs06ZsDATze/kaRENjEGV2fVZaX0FHpHkfP5svGNEaAs+GEejwsPGFXffvL8MTdn0jQQQCtuyF/YL26vZ4R5ucYSuWsm2+Xd492Zdayu965sakXXxQd+YRPvdoLCZh3uoaNiYu7fw5KHx+3MO1TirujQJv2ycPyjF18hxN8ZbfOoB9p1YetF87QRZ2cIxZlQmsZ+qgenyPUJRlwPzlOr5Q3ex2ggzAW7Qz4kcyI+pS5mm97R7MMaS8Prn75jBhyMw0MJulSuH5qBxDH1iMJF6r3ErTBF/7nb4VAdmi8dnCZ8RrN0uFn5IAZhT+geHHcIQrd5eGAZ8+oI5JtnQ+egKOmzwXNT3m3z3TkRvPzZbaMR3vOi51MH2DXF9BwKp+Rn3WQ215jeuxCNkjmakx0hexfNIn9KCwWT8oeu+sCUQG7cYps3hl9suB1jgL/8db53i7enqUOKRbPQ2fBVqFMpXnPjEdLDvdIp0TMKXt6+vvSI2H9ovR6up6xnohKZ26ywmzcouj3RAIgNQ63dnabjw/cxj+DWtIGOgv7nPEDkSaItV+8pxVE5yF/OXA6lIpN2DpzD/Vr+5ha3hkSIQOwAPs+3livLtSIHkkkjInPtsBIXUh/V7GJuKoYBBipFvJSkCLJw2cD/rLK2SGaRZLiTOYWwS0HT565FhogVVsbQkcacBTsfF5YJOinM8IV6tV9p8HYvq8csv7AhJx/xCIvp8jnqOrWFmaSo0H6CTpfM5wcRvKsaQ4tuNpHSmRHfhceMpINOfBR1vufElrlWfLKPWTJ5quz1dte0tW6JsDfl5BwZHKBisBqdNrjAlpO5TftE62yWx3oo+4VEEguEyCMdYrOMEScl+LLtNHW5839T6kLQzyB9wQmcU5jjnUyY4oyryGYctj1IhnBeBrZ7hImJ7ZwZn910GSXnJOpHQSOT0c6WGkR7ww6Kr2enNGcwWBnaUsNcHGSDbEdeFCn2YVtcVbEx4xxGWtNssy3cn4XjPj/8cOn3KfrIXHFxhturOhvOnrSdEZlBE1PbodhlYPlvFY5ksfwOCLZBd+jCVWGSsJfcvb37Ap7OqHgMvp079/kVxgAFAjZJV1AKi3lvKAov9sty0+UJF9NptiPZiR6ElUdjQAYx0KHdg5NLWZGke2IKFxSCbGTioN30+sCsEDLxoE1YGXNDSEq5tUXdkc10S9zfC8oojpSu6LwtWr5nwb/9ZWNAKEAZ36yeLZS0KPdFzz8yNl/lbuufCMBDFliF02p7yxAnVrjvdC4MPHxWSJ6cA8s42RVwGqVNAM41/WNoLOMLc5y7cRskGzc8w1xFhZnBGGnOvdqbkTxQCJ8m/X9KrKQP8A+4wl9Tp0Ihz6JtvsAB3Yndro0IBvkm+PfU62kr8QxDw2X0tSYy8+R2JkyRwSoDcge+MMLYOV4efEHECjiEjvz3P8ZZmUrAER0+Q4r/o1x5NpQq08LZLZuJiZHkwJ9j3PdcDlvzqwikzzqenIiCf0Kh//woiTXP9wa273hZS9agnsRpJhROv+cp2tfN39YO5N8ndh4dOisqbnptQToYI/1rsP4GXX0AGhDNY66xq1NeCiCgyQKVUt4BMdh+IoY3j5ZAKC+bE3PKcoZjMeqVA6TAmf8JgizzibyLjxDL0D8SAeiUfzmq62zgTj4wVnkLn9CEgQEuwBrxPpn6SeLKrDS9wpkfs91wYEqIoGDkR7KFzdRyMRZ6kyvXTkMSIW/bvsXoD1BGPC5EMkuqk9cb+5vzyKprk+I1ZT/M5BhyZVTPTJlm2/zIP6dNLTpZDIqK7WLlDEhMvQbYbXRt0zt2LD74WryL8YBNj3iYCbqKLWQblDyZwLa41u43/x0l0r8sR2cqTsjKOmeblbNwBZzVuRcDuwaUwgepln2MynDbMyy4cP0aA/1LTcL9plLTiEU1d6IuojDeUfBH1qyIzv1/DkfkN8MtYx5jiGZV3BMI7Jj4ao90xuq3awHpRnxwJaTtG9trIjszmNWhbRfGasUrlR362tfMqSU3t05GhAybsqt3rKZ/AkOuWQnAOGMRj+EEHkk5JZrhC6HT4wU1U+jZJ6zqw0Zyq0HASh3tcK/uYBD4ZmSVwNZwzS8H1FdopzMgdjCLQZLLMQ8RC5+dtIUpNXNFuM23nbecrdGP7dqpHYrBXAeyiXTPNKoYuBl+LQr0V/8MD3c9uyIo0Q+UHWFPapQDhBJwPAYME6HO7DwvX27oBuztTL+1Rs3VfN9KS3i41ioJTDWpwdfMv8Z12Ai4xPbGUcetCrDDY9srch7MUhhYdi2HCp+2li9OnVQcbetlnSYG9imBg713tbD7JLjnBLYuNZLeEElvU5QRS8p/x4BBdDmnE6UL/MJyz/hZ8kTUq3cTF0xQuUb493VnsIMLKmtlHUX28nmR4at/yAuziJHQLTCc24nL4IUc0/t6ojr1f4K1M7nXmfZ/HrtJON3mBSQCv9PoFSQGv6u1ARYFgNG9EXBPCXRad3YfkFxExJRZXK5ZqHJ15E/kbxF/sjxvnMPbAim92ebp0h4rPRQcNwih0lvA4h4KZEvWu1cAfRBh3oPO4ITIDAYKWJ2LPDrOK+ElfizqODV9Rs3BZGjyD61uXpoOwHE17njJeFW4HEw83+p0qRLY7x8eow4UjVxr55z3LYJ6WCXB+Froda95eLpMCJ7Tc9NVH2s0i1imM9eegk9Kok/gSKMc5jqei20vHveY9CNm6WcvoN+hJbiXHXA+CxtmgG7zyCTZn4GTfew3CB/uD2u9NESkQBZFBE43zgwd5SIesT0/p9vwwlA4tY52zpEf/Io7WMvywvpPeEe91AvKAsBvJbUWhG1Lsxo88ZzKxGskWVUH0X0ovHmJ1Sd7cw2caFthQWsMoegNx4rU4bD3h73ou9YHazedc7a0f6IdCOJvqJzsGBe0BsIee4r/t5p9OvCU3DXdNha3T4d2OxUJfleULzFLypefek8QkKKXM+zv3DgEZg+ZDl+WUJBtD1WoV/or3kVdEOLh2yob1i91of65oLOdw5HMwhvaDGyiXpacxnVKRdUFWETuHqObE1SpysW7qkrahil+ZHP3oKPcv88gMXyI2FdYGLjdRD/tesZC1RTsB7WlD0peGpgty+lcwHsQk3Qgxmq44ijwnCk0Qp7MlSHXBxV9TDks98pSOvtp6wa7nJIbo1WcXJd+IsfAUCbzv6pqDlegOCqm3S1+dk0jfaXBSpP/sszeHdlCyFU4pD4y6fipQsNONe9cIcpsIhyr9je6rEM6pnWO/14G+A/EdPvGRllmzur5vvA4VSYKGWeS2Iki7EuX5SpJi1j5Nb9spOv/fUARuI9xdWQUuLxUaKuJoZaZjd2oRsVOuwnqvQ5k3O5hFdV0IKmhPONcUHm8KPI+x6aqSKPkrfD0o9mZC/kNVPa78DQ6Wt+iOiwdZO5AC/SSX4RziRwZUpvUC7J5uRtPU1zfW6j30GnldA4pySrnjWSkNhiVIPfZ7ExvtvqEheZcvZMgh1yd+43IhvDNiVFOPvBkgytkL4zsUARrMgdknqErq7X0j1kwAfvzIXBe/Q1wne+O9M/c5fmbLPkSO6GG8E2PfzTyndRuEL+2YiSEukUYo6zF40aijDOidknquzi9FrIrbOq2v7CNKpaNVXnimFrk0FPV9FT4e3WfUl80pUiEj+2bTibn4ZRyloGWRIGqUiNrx6P9vwEmpFsT3cxqFUA46pkaQFalwjx1bmhZcOszlz1k2mpWQiuyBW3ZyTCQcrEoEhzcQraichRsvHD5ST43He6pXQr1NkdSfidyJYsZhqA6NH8JNN5mevGmIPM7b+lxNQPxyYsm6SCpr7e80k/sNpoq/UrMtu3tHd4aFy7K+8Gif9wVEfVF2HcfNg09BV+LMD15JZ1eS2lQ2+wgBN3op/oCVT2tCL9/lWjjK1SpGA2Vt21cjgNyVuMai/r7jhWsWJWTLgOSHBg0rUy155grHH0YgpyLVMpyvnkkDf1mHCsfzZl4Tdw3cO3g4g0rDRWhGbXEbjp3O/gFFPBMRuiAZ9K6m10A7vDqMHwGZa/gGlZtTVJ2QS2X6Yo/fWbw5K+BSkRLjMmHgzMKn1vq5IZfXp9unPWvFvcwGqVySKmeO7s/CIHfAuFnKBwb7g+FkwTuaSFo0QIvjMQaJgI2nIULgTY39hKJVSm38Zg91RJHvtYb6FARpgeNbgyBWoEeE+A8+PUedV9aZH9n+OY1bLWqIm5xmCmReRwYU/6R1gfNCvTjN8ClBHO3kq/YqGcA8VRIKTkMbutN6OdMCfs7RxsrdndUlDxiJcTO68CHOj43+niblgiHuYe8xQaK6SUNB8PMvYmJ0bCrjQt7l4DWRHZ2FCJOSElmyUlEkWUNV9XIwT8nS6H/+XPyqXr4MQfhgnPPW2Gcvrc+2prQH0uJjeFrEK3cTesG6yPz97lk6rnHozxFxBBmVKQyGxaK6qQ2B0XNXvgiqj1NiovDMJpLfu0d6BmStYnhMZF54avnpNhAddDDVVJ3rYHnVHL/C/CLLAopFaKwheMrHm4/5iAeu4frc3siGlEpUfnWn27jQntuC2XnLOzAQyHoep9k1842MLzhTPyL1HUnFpgpDTQ3LHTh+T+qrcyIUKwhVM79uZidq3EMZi1f4r2xxxwA7luQLeSGQvIK4KowY5yW87WcgJEJXDHLd5DGKJP1uUHL4VeMfnE1jctKFUGdWraWi4WzHiXy2Z/yonAc/3KvORwDrxrHups8UrEkvCVDjYhHZmyIYAQWxI+Fk0MpKmE5dY6Nxegogk5e6F5MjZPkrH4/C5SOWCKW4pILmG8ouRpbOadsusinjMtiSY7F7mvdCmgLaAFObrhrZZ1k6nWXPKETnRQSUWGkJ8mZ5qLskFOGnFSRdJt86bFIhKDCz6fcbGpRs1raWJmwiX5YtXkIag3l4jnij1kzV0AHCdfgiVv8OD1KZjbyov8uoBXd2Pn3u2QRZQ9QedoDyX5Kux6e6IcysShTYNDUCKrQGSe3W07X5g2Mkx7I6SvbhG1+yfO7orBdyV90xm6p8bw8vUpY8mNMmaNARImLZ1QKVvcuF832iTuiLObRjzExCIj0U/xKsYZc8CmCO3yEgQ0SckZHioMuaCdZpVby2v+KB6aSpRf44ddYWMDOzS5z8kCuF+DZO4rJSLLN2j8qvbOg1ymX1v6vds04eGiigG9u4i9RIOef5xTWB36GGahEmRDU4y2QiWPzhgPVArxaNkAK1PmeBiYNicmcm62C/05nhTtOEpeeD9dq+f6S5vA4JP6gmoCy1YAfgeN522NTs+KmByWdwk6x+I74zTSnlBhPQthmYpGIznPSlYTwAsL4nLqJSWOAU2tlszbIBwbScOaDuckXMpvvC0fJvkyhtWNSOyHvSoNtn+ugF8gVtxnlZS2z/OvgWTb2QfiRwynK9fo97LYBQHKkx7o6R7yygEUjrfnjTZvPok8bOP9XBZDk7uMUKqwA8C+LCV3+yeRMpkSU4urZ+yEzt+CifR5gpOvrhxs0S78Z37xzKhdIBmbVuYN0OTlVZCkxDnprIeTzLsHmAO/jrNX6vcDvytn/xPkSOfowpdd7KH86vDnvaeyrKUQMZKakghlaRLqJYG+soIvf9P2fD8ksoHBVFDMJQK/Y17SXOjQ3aj0xC3pURW/yqsZ4tciuNv1Rc53Nk54UsArZbzX9aDGs24db7TXASmlqT+nmwbl1APkRGmmKmSr3n+tMZIWzLViHzcti18KIgY0UGnEEfAVdFKEk2CxpB2mFXqgQORABm3Nz0s2ZEpSQZAHmZC5yOSQUv2/NqpiYudqJPbzAC0LYJuQZ+5Sdi2AuO6H17FNIFywACd3cFTq7smVA3fVG6srn2hdGYesiw1RzyZWLY0azNvmeBCGbQrdIYM7lJ4dXzJtb6tCgP1GLYtxY5RjyJsAd4gNxjwmSdO2kYN/9NwNVSvGYxbJpwX5BakGboldzRGiU7XcW5sB1cztKWEeCRd65QAds3GjzdN7G+suqeJXFFCurjjKauvrNdQJO/FQ7EKwkbrlfV1bxlRD/DMM11DWVWMuZcs5tgWRcDrh67LBbdWzjJCjCMvsDm8huWafWCV6yBaYTM5LAGAQ9Et2lDupC93xWyAeWQXHjYPqw7uyOFJ4n0Iucn1lzd5n7Eboko6LBTREgF52U3090c0Hwx+yKjAKbHV8ozYfhLb+z60Tg2B9NfCEPcgqDdPNGSIdfMS90H+2PG5IDhq8V8Hd824hhscMNmTgiSVen70ARk0vCaaIoQzCVIcki5pHyc6411EHODS7N5tNg+82HRPhaG0hEUcEJOya4rmzKku2EjC6EveKCBDDARSKC2/K5Jp470a5YogQ1ygUL6srhXaHEPVzAtd1aJYBt11uN7aHuRIsYsEwUbFTxUUGokq24VcbV6vPVskj/dxJ+BfGCRC+poHiVvXv9BqfSdq5DdS/lxoJRdQL9xUeqe9PtMxsamZS5oxtCxmQgnJ3dErwhwHd3g34+218Bzn7ItDhbAfmYxRgjRJg76V4hYSS7jiW1DPAOtAQIE36ZL6R9rAlmyMCtonMqeTwJ/Fyacb6a3PoSBoPsSTN0KbQ/nza7SD8taH65s8jlNevXBEV5n1Yy0c9VPTqJC51IMJPZPTmW+AK27HTBiEEwhShB2m2pqVJc7p2QOGVaBTbUgaaKWQtJr6LzgW7rQiWre932YFqDiYihosmCZ5xIiSo/swoHuQfL4lhS5eR2NzV+ym4iDAM6bKm/B94vyjitsFzrkfCiT6eED8VcKjOVZ6lVlOnj9QS8cqxS84BScFHw04yHx53j96d6W7bPTEJWBiSWjqRpPKebQHSSjsGz/XuliqCS/FZu5HDmR7Z1DOCPqYKNCeh1UhJaBc8Nrx5poaAdJyvpBkuZ3ytsoad7dwtB4Rj/kipnqkBSXY2WHycoGWhS/JuqI2ONHgtHRS3TxrH2L/aDTdKsu0qFApv55Jr1WOA1PWNCmHnTLxSMoO2a6vAbuk9Lau6o6Vm5pJfpn4J0IA0iiQgHkVUpulYZd7y0N94cxCxtVm7IGRMSu2e/RxomjYAlGMsRMwHioSvaF7sn4CMZoN6XAO6u+BPqzL3R1k64azWoZHmkWtxL1z9evGXV3DZctbKbFKoVh8SJNKx1WhewLl97vLA/q9/CanXNODr731/+r/fXBQGQOXg138LZ9bthcsmYfTY9EEs14bzuk1hyH8GbCXJL6BzyHsvnhXbZtm8EU05YSXPX0bqoy3i1Vuja9WKZ34ufUJwZcN6DhW9CYGrvYHUiaJh2KCKiAEIdfL+FnzBSelsGokFctly2XQzxDpBbV9dckGowEBBn3XDr+djuoSATFE3s11iXyzGyp57PrT2kdov2SUZaj4y9eV4tK/R3r/RNRhtlBllfT4b7kroAV+6JU2m3K5YILVYs7xI6+1IrH5pZu2i1iVNhgUlLfD/ZtXsTigX6ITYCY6ffWHP4FdYofgO55dw9vSDWSHAJ7oSZMHc3JU0e0xpv+jfIX7jkHADyuh557DLWuTDitSvk5GG9fqu+dFezqIhKf0mpJB1OcDOGoSWWhB0onbT6HYXJHgq2EoLsvKzHz1at2X2UhYUjkbDEjNMixGNe+ffMtWVuldq4GagRb8JNZRjlcO21gtTg3aVxuFArFYGN9YS53S69gPoA/DDjMsQLFKQZM26eB25rExKb9wvpwCeX08cdv+CMZIPK3LNGhiAicX8kM0Et/HKedGGNDmelrdl7uJucotQoa+Iv77J9LXPY9y78A8x7S2sWJO9YYepI+YwHcWM1Uas89T7hocHWOJ6BoCeI29o6tmU5yZGt4y/7yUBJUQlVwTyVSXYK4RZAuG7+15oTH4LLpVxlK9Z7glFyGjSHMfvOCSxwmDz7asZis8rXTRImCJZarqXneL3hFR7jv/Wx5eOPBBAz2fJbYKceTktZKAYvZPjw/W6YJN+vuk02yGrs5pASRy0Ii/fOugFhBXcjiiB5GzYDlmTBUCEvr0goBwgMulAXluVwqF2Ekd63Io9bBJxL5DkAZjMPNpgWbhGWO9O3WOx9G/BcTiKA3c9ZoqT9EwNereV9PxAl8hQhj5K0O0NUm0TdzChsvrbZyfvh1s7DbLNn5mI/KjONt1dYpZ7rmCnQzAu6xROEto+UPUW4ysOlXqpzivDhhc27ghTniQ6seW+nevkOEfl1h61eFxFhr3R7EvPblIqZDJQVqVL6NLdU5G0i0Kq5fCkADpJOYypninN7SYVV37n6HDGjjnRtssIWU64LeM+OXPf+Bn4MZquVMt23xWY9jz7IbFzpGsAH/jbDlZ1yBWgQJ6GBfTdCFsNNsIRDQ1uNXyo7Pl2i0D2BRoSmLVWyNAREhUb4EHU23gq88Fv7Xfxaq4T7IW2yT2XuFf111hkxhLHUHsJLjg91bxIllK1xN3P8gibCqh88Zj3Vs8C8OcrknxK+8JrrEyICe8HVYjfDNNV4eZ+16f9PYo4zHT7k+HK7S4WCjz+gJG5zY2ECOi7GKiR51pKqpqMcS+Zq9+J0KPD/55BySqH7+LAaCffIG0VtZ7yD0qAebcjJzXMkbcIAwyC/XzpPydf3FWSi1Sf5SVEqZFzQngPzB5um3p5z3iCaYhyBw8YrsAAW6gG7Jz0S9UYFnYOL7LonDZlykcHTGmcj3FTiZv+JCW9CvkMVZsmQmdblpJkC2iwYnK1hD8S1gdlHySzHMAZgEHlMV03C8tlTN0ALeS9urnBn7V9fCSAUapr0NyNNsm7L5PwNSxhD7Cr1DeOMFFQLzZEwmV1UZOzx2GUXy3DD7VDKat5HlAhbfXMgykXOUhKbrz0bDWGhpaDR3zeZPPxga3bjEPUJOCJizOH6U+ozcej62bqjhAQ84guVbVGNwFMrcy6nQkXrrRAKxN5OsHQWpXLS8+PA0Hj67nfQydO+frcvZ9R5hdYG4+nk0Ofg1cX3dAl+UTtQbdcqY2aiaUhWEEtgLwV/Dg4gicdyS7eSNS9HY3o4lr81UsJgbgFlquJAaF1T0yG4iSQl2F71eM1qFVMehlqizy0JJu6iZ3siZ1MH3AuBlmM3DZ2WipuJB1LYJBVXuCmrAbnIhbXJpjeUC4Pn1p5HxmaW7YgXsh66Uav5hSRf+ABOKXKmi+zovGKUcqwJb/Iy/VW3LGUdawdK85rg5+GEbc8x7ZxR1bnjaUnn6j01BPWdBFleWa3fUOY9S5BiaRGWjxaHErVGfzq7xI2CJY8OTs3mKQeeWfdhxprRn4WzV5Sxyg/Wm5saWnB9GIaeDMD1TjX0yXa8nko2755RweUygbUA5t5PkziH3l9ZuYrqkxgcXZwztxz2PalM7bvTmdH0XMNvHthdCZEVlhoClXIhwUQjcwB2FEUAycaGj+KEsCvWPs0plp9tKoaE7+WMTwAomnhub/R/aNhPEhPlGVuYL07HE8c6sXiGPmUNWRX5lAH3+tn4n7Q3rCeroxnV6yKkOOtHXtxTf9gyzdnLpfz4M2TYtvw+ukeav8FtwUvVXUD1KP6D7Z+GYDE91NV7HBGAlu45YJMuuzKeneh6WAskATBAj+z24aYchWYw/vEzEDGKIsoKjBukzkI6+00/ZjEeXjn1uKFo7T9XjyVIBNkvFS1mxi6mtK6Sev4dmVzF0VNIG66Kti329Q7C1FnzREMXy0FCmUT3IXl5AyCawFZ8MI2ig5hvtIAiefuCWSjCmaZxooEC1hWDmwP+nzouczWO06eoYb8XOih3ZmPj3QDGSyOrSOxW5qz129raMoQADKidWuApfMzBkP+GBzJzMTVueXrD+wbLfrFPSGTHdh3Rj4nP/nonLvIovDwFF+89WuWMhqlR1r6RpJ6y3QBGXGwR2XBh/aMG8A5ycZpYrpLoEHWL+fGUQg3ptacjnzp/CR3+dNsImiGscUziKzJqgtkwX5xBEysBc2thSjYA/6M44q221oJin6UeYxn6AqejQ4uAcZ3lvEfQsO/kkxWQdkVXQb9SA+pC2mYBJiHvjXInTAjCRBvva2dtu3bm0MyHs5SSOPRxOx5kk6p58MMFfXVSkV64xsecl4PB2yVLrtiMEaIHYe3h3pPTrYwlTDtKVJAVgiWApL08cccBdbXdFECVddaqVSI6zxHeGttsfJ+P/fr5EQUBfs6qQKa+EFTclf3+qnkwm5RQpYagC/Y0MdPLPE/PyrUz2hg7J3vxFNIn06Phau6/XxuUvB9CVbyEA/K0Z8zRv9w3vKux/RxyOC0YIOT2NFQgTSoq9PhCxyKpNrkeMm7XP6Piw5HBoA9iIM/DBokOe+HYQ/mOqUvUcfrLWycyTDH4h2rzRwaigA7o+FppEAI6v2kG/QJfbU4mpO9HVwaO+1dwnIDl4gwXeGbD3PjROAuMj/dJxRlK6wC/+C8lEyXTkMQT5dmt7YiOS6Cg378n6zqgebF8aweukvzXMCBIVmnGiuRKzx7ECiHq9hdpsPsHDpnu7bj+18OAxIrUnCnW/sUPW5DWxIJ+JIFUE+Ue+A1x+sJWi7fX/uYQbYzhxVX3anzaK6RGVKYVhtd72Z3owDB5Li3mrfqKv6zw+zBx/UkbLV4K79jOJ5DmRAIje41OVRye6HdPU0GyM2aO+RkpN1DoblxWluIMeXkQ0WNoEM0GzcjQgGpdLoxVgZxE1FsbBMaeVmHaL+1PBwVxvFiH3UcCJ1kO7axX4bCmiY3Zox6Tspk7yzTxzCGHO3C2XBogcCi9hGkjcu2aEYur9JZiNQ5NpyNjBarxs5hpWWWke/5WRjEks07ztt0BGHg20fzIeJoTabMxZodM9a9UJZs8pMmx4FoUj9LeQO5MDCTeZuN93xH//uHh4vThAJzHufDBl+rw9Yvq/kk37gQz8WpJ92RxcvqTLPEiF2fMloi5v/l5p+Ox8qb+sifro5lBj4iTYmAXhWF/PInLRzyt4/VfKEkLt4wLINeqcCUjPkREkC5n4D0ME3rkB0wSmAZGjVagCUTDrnTfBzZTDamie0SYrMeFC6dzqzSfHz3ecbINRUXxFYFuiLAp+awCtjV67gAg8t8CtXoz3AFbjiylub9rmnDNs/QBSVBDmdkB1kQHjd+A44vSx02HjjkVw6xceRJfA4oBWk5/4LCGwqWg9tg0wVZpC7W6vkZ7pIaoqLiyNhUEatKmdwb+v7qc1L9zT2L4c1m8wdX4CHV0/m9IlJH0hCW0Kc0HVMW5QmP1isDGlUpuXT24nhBG2hWSkGaPGeAvPxI2kkMG12ilZQIYSaMQYTJQOIqdqB7GcMNRIApp1KrHtu/cXuJEqoXBYfRjT4ClUn9WJGsVLoZRCT8425FQ0bbhVuR0bIsLG1APX5IKZCqDqdkUjLI5AXcAhnGC/qpye5II8hYoHFFv4LHPRFBuG1NBSIdD/NZYdayGFwCwKaA22HZCys6EnxiYh93fIs44vNWwVaWVbvFgzO1+QAcFVfyYMWp+ajSLwQp/FoFjDn3Iiq6Cc8AmF03BEI2yunGccWaF6q7VntYcv0hOJKzQLPjfBMUSgHWLNEsHc9dZccdmh1ubolztr2XOfh+/WnL56NXOyHzQdHxvYeGjCHASBVUZOhWDFOLuRv+GLoAECUx0kj2Px+wBu4SNIWmag56d6YnGI+zYayF2M1O+Kr9LQdwj022dwfy91vAUIrC+60ilbXk3+DxRlVUtwhpR9qSEsJNmiYetr708ewQUha6GMLtprXOxY3q7a/NXSFctXY/YeHbIJsMxOh753dcEjVvJZ0h+Rwef1HYWHZyH8BUPfjKdaGolSznChUYxAwZjHLTwz0PVhrx7b8iKUg7jndzOPijOwRUuiKobUPz3ZO57pnjiGOvSfPQGry7tQCLbyKjrVuJSoMQYKYzXEM6iESfBlTPPBLyMeczIKN0tHiS26TwVhO5F8UWFRIbfPgjC0YYIF9PmVYRhuWr54TeUqq9GnRYU3l+5Dw+jJfg5OgJLYQiYMobRKl2ha7EWFQ5sRMGYINWLf65zrzKxHIZ6WwyA2tyICfsNuZbMVGFi6Dj0PNN7jjOW88hfAkOmXgTAViztxWneqmG6bF5uFr46MzwbZIaDwjKSwUQL/mXVSkzuxdsfqpc+zP9H+Uxs+AwRuyWL/RNk6A5psSWxxD3tLTQcozQ8YS5Lwh5/Pgca9MsEj7Zcfa/CjnJTbLBeRogrTglFaJLyA9VzxmFGlpR0QCkmqvcfvuafa645XN76bUYj9pnGVeAfdQsOnoSwlCbjz0lhMbjxldb/EZp1F/q7DY8QUtl8bn73eCmlydyPsrWrzOqTNWPN2OQlzT+YiVOeq3K//i4KKGkWkAPkVG2yEll+waZCYwkDmBVEXFsKy/olqcme/KKkbEiJch7i4rY9rBfWSGpCCcnlm9gUAj6/1ZHq4mkDSeGh6oCSfiqojIvecdE94Ilh2ql11M7aoVqKciEw9U/783G+1JpoLpCxlo1RY/cki44TsZWqklf4piZ6F3x0dnfG9s75kCzrKWzHmXPV5+YbnArr0qSA4uxA9tMr0jvt4p2UM6Y/WPBxA3lCCTb5c82mTxrfv+JkF0CgseeX5dtSiRcbJPS29HbNqcWbozETOKDmv/V5Fkn7FBUSoDtzFFk/RXgkhh8CXUV1bejeEY6dG/CvYcJAYIcXN030Hkr5HIONbC1tcRB8S7GBjH8FCUEOKgzxX74awrxUvvz0ulTVMRy5nMFthabEGKI3M+Tg5KLmZYDa2cbmvONHpKqCya7MFLBsLqivw6B08yEzwrT8f6QI5kjxS4dFhJsjIme5vyy8ClmUBex0N3nAbVgGGQu8yicyeklXZ9fbYIdhzCSCZOCHcwLQ7gOjQ5A/R6bc1IaOL15xAY7IlqoSGGjFAah/UhMlGw2cuo6/ISLN2GPg5jSUUKJ3ITAmDPaPiCHG8HPNsB3uvwerf9y2tXesSv5w1Pc4ZmFZ3Dc0likyUEqLUBSniw5uIlcOGYFztUrJCRgngi+nV+Aiugd9N5wpGDVK4GncCxAJJ41GjbFaaJ+Sg3oYii/FK5lD0Nz7c4gN9PY1kauQS12n73L9rP1PZTKEMxTx1w33Nau/uwxO3YrVskqvrz67ib8DTDQCf2irEcSjbr6Tz94lAqa72DPKpQRqtGhLu1ZI8IvNkwPHwPJUe1jk2TY8+X+axttLEIfMW7vGnDOf0Wlyy6+6QpxKmfby06GVGqf06/vgqd8guhUKnL1TztXhK6ixN5RqdlYnIHjpWMuiv5rqmSdgADY45MEB7wtdJLQW+3Cqkvqko5rce+e85tSCiYfX9zWbO5QR4gMimMUbssFPRQWra1LbMIVLf9/YRvQVwfln3ZTqW/lIJMXZjpqhDOlvDjQ/VRiUSo1vra/+6zBtmE1M8ujCkW/k2UrMK8M6Cr6Hjxh7PG7s8o2s6DiVIrksJ9JIpq3RI4Zu+W+Jkr1yeRBWeXneXaM4xuSPYDvFgHGk8DCY5CEAsc//tdF3FIv5kfbrg+3jd8oZFMqf8xfYDyGylQxB25G5iG3zF+J1HDM/dr5xp8pr5frLE1cLkrH00loTFhG3sNdC0sheLREBQ5HkgOP4CZtfR5vatV1Ctv50FJAewxEI4ImgRn8YnQRegytf1I/EzKTYM+iLGXUPC0YfMoLuM0Ld7cxCTmBC+ewEWhXYgWyCFcO0jlynK1K/KO6wq/U14fHX+12vCvoExGTzeZfZO/Z639o8D178W7SAk9eiybINTHUq2c+0DJnJx6o1avl2Wug9it1x2ZyVZCGHQ90aHfJPekNI/qpY9WxtU6hEzwWc5H3obAOVelqfZl5hFEP0hejEENQXBEwWHu5E+N5quRpw+Vs/HEEqoP/aMtM5aiEkJgcnhLUwGtLmmKUCWGd2RsbOGM4XFTA2AoYKn94vQrxbperemB42hw7lCWuqc+SgoTYu7+1AeYsURKMTQM6G7yW3FhV7d/MQ0SNvFaOiVjzUWR7jvg8fvcJQRp/3XtaENjIZlBLhCxAonSmWT8927kfmpcKmQVJbnTR6xs9b1ck6LtuqEEm8Fez8S1WwWUYHkGRcEC3aySiOSklW1P8iB7l8Dg0Qi9TLBaAi8TNhvLTt7dw2MpoBQ4HmjBiQHdvQs+qjzAgOBqmqnMnCEGB4p22jWCg+evn04VehH/Av+h+nHOIBzDr2LZKzQGrnyc/M2PEdzTjp/x8jCrj/oATwTFDln+umeiIhbN5JQSDW5JdnUmZOFtMANtuveDDETRlF0WU+DtHCJnTiIm4zt70yz219R+Z6zfZlB8hSLVcLWSLCmzprhMIZ+i0vO2w+gYM/xpFMSHdX42hsP1aOEEO4YfxN5tXpwowG7CF/3MjjanJJi7/5Y2CiTCIGd4C6Jmdaip11QTz3MAyBz87n2x/kLNXNZE61oU+mwR+DNkvwajSCmPLzEJ90HGRpdjuXYCb4CzAFHi+JkVoMziMvJqEemKgEoLk83lA63QuQg5ZJGpVicCeNqVf4AdUfyMig+pP3DQK07uXhrvONdyxlfco8rwxEwJ2r2kjk0oxglYcWAh+p/zdqNGnSHT4aXk6H3QYEqEBK4NokIJCONFOajtu9vQkl7isiI8SuHADSw40dF/9GOXWhstd5n0WgHup4Fs0M3CSiF0Cl0BnRYsOERWmja/rpWS95kvKz3RcOEwp8FhzWX5w6OzWciXAo/XqSce9DmkVxyOM/hh43svQN0zHP3FI+5r+Bsw1sD4JbYGt175/UnjcGRjFKCnNM8XJCn3tLwarWBPDkAb8NxlvOoKp+0GqMh2JH0So/FsS0fpIW/w1xXX2Z6QGtzPlhCz29Qte8T9PFycAkdLp1hjCeRHgbXDlTKPX6PtoEFzwaNCrIbEO89cPkw0YQ3J3PPAkuMNrGdoEIxQdwxN4pdC6nCUBAZ4rHiO/hrl4qn/6ZQm4AfU9TSxhcR3Zt7gt4h9CD53QUzEHXzveh9kMLsLsmWV9wR+DTgH8h26WcNC5L13W1KWyV5+s4Sicfcj2IBb7xxSDkxkke2WOYfDpetgNGgUN6xpsVqSxfsiKJMZGuQiSQYiDSLoIajPkmuP0tMmf1k5QZLj1JbMJkgH5hkb/EVJv82DQxc54uOw5xIkxKHQbs8GKZe31mkiYfHOfzCb+lxoksqJBLGV5qEMDa5jvyvl9eKEy4IEzbdYDJmka6GejH30sF98R3hteUWhfK0iWJly4FIjbon5aJhGKQpZcJbhaFiqetpiwpJIZHG0JTBoecQ6sIiZEzPocHrMakrEAJ2LkXOtVEIFlerMxGNi1Z+jwwp3H7NAX1rND/o4VeaT3glqBp32Q8T8dJXqCu1Ov4hF4yuSiYTkwOIGtO4mHQFcErcpym8J/QHueGIihrH6LB8utStERMHvuvmanO6PhQF+hLQljetLmqCybsCoqhNOKKYXXYtNNFSKo+lgOhwFRrWnjYtklyIIqkxEUj9fgD+dQoyneFUYyZu09an7xrgcU6ihYDxDp1mwKmT3GoaowZXjsHGujGmnUnr7EKNU1OpHkYJgIbbz/NP6QV+5QvLdTZuArNQEBmQDUeI1VZbRvfduR86A7s2xSVHufj776VCN3d9V6ro8STIGTE1iYIKoq4vtSIocte7c5LvwWQXHjUBItGeYstLypKBKWeD4UCB7cM6VwihyqjJSAMvVV+zfNXsXeXBbMHbPwRwLPCF8TKKETNxNcOS3P90j2MPjxDKViqUGeHcvdlAsCb/33YY8TS9hLrhJUBFAqNqimmASS/FoD/qBDSjZl8R1YVsqNW65jw6+s7GqmRvYraKK9w0BCgFN+IUusZnUjdxd/AjnwlhhuSr/VkgFV+hvaLyNggKfCY3AiF6+jYwxn+qSidijNqAjcRWxHmhfw5+hSqWAnBY+LlwU0EQxtChhrqNyORRIkOut4KlE9Lczxy5agMbm5GwjbMXUUgOJjt4cfiKMQzqsuxCEmAZWQDbVDh1E9jd7KmHaf8ljU+5h6/bBmvdvvS/TB400ANxzA3+NJ8tfdvFHr7QGTG3hKwV0ccrRRj594E5lXXTU4sRaDwfZ4kHBJpyatS/u0lToIHVILabfjyNyGdHjBz3YP1UjDUK+u0bgylzshsYFoA21WAz1jiLXN7NqpajMVKeKmvg4uyt5QtunwdpHy72MYAvYGO996m7ctKcVEGtvJMK5DEq/xEoIlGuGvzVwetlEc7FvlufTmmnml7MaVTJ9XD/BUWcMU1QKxAwm+U6nipQYbek5zy30tHjCxHZ29ms/LEcI9VCzJ7+Y6eJ13Xm3C3VVHN7Hsw9xfL6gYNlpB274ySJR2KeK8GsXaD4JtdQC1BemiFyXZHrb8ajx52w1DpfqJnaquFYjvkAzoahQCF7MyfNVeFEYvqFOCpgztiODN3q20DJWkmTl60usQLhw3QfZDGnAkyNGqBF+q4tWJnNZqLyTQ2Ip5heCv24x4C++jhDCMOxnXaW4d/FaMwBKHfq8Dfq+O/5mMemYRXEponubJxQVMDZgnNurcs36QprooNVQm0Ahe1bwnVPbKtRLAgGIcGcR53rvctKWxEp1gDH2dXTPpqEmHqPuZQMtvTFA7J5rlzEm83uVnOUPQ5GiSjlk2FrTs0mP3lz/b28PeOpyLGwCvfWA6OCXUKkTc4gHcrAneRCe/8qYKIhphOmJC9QdXs1ogwQgXiDQu+vy7978Gi8d07xXaYDrjD8noHUjxW5YSXDt6xtx2F0g+ibWw0ZQdQ5NZ6uxU0aLE0zZvJecTOaKYDBsU9/wM1yJoLxF2WoFCrBzUavZu9mLgAKTYJrUsGNFrnklFZUCvy3EZ37Xy/TC+PWDrXWbo6SBYHnWuXDFJtnr6DjtS9PcwEJkebDoIA/AWleBB84w+8LpvVT48hLJZasbFKw6dUOImps62FFXOcKdr3Wlk4Jk+D+va6udTGEJU/TKlwameeYMSVFPuPSynxyA9RilLbgQXeDLBbIMrreQIRq6o8Y21V2gtF4QfCnjzGMF0MPULbBoBzLZsSFrvSOD3VXfo5m6DFzw0wkKhqeVGGRtr5ttrl4gvv21Ioo9VQliRD+2Si/MrIRyLXvVFulSoGymm+UNucqO6cpi4YwuZSy7CUqsti7BHHU1h1iGyMTBQnFFSLRJ7uQ7ePD2SJOooX0Qzr2W3TQ4zYISk2dstdv73Svt//6t65FKxOzhlOWtCini3HUGy3936vLnm+U1ba++4bSQow006vTdri6Tfzp+JNeb+juOwUnTOcSqiFGymkuTexnVq2uOKloloiiyhdD/jnuaWktAHdMZRlZsSZped4otv+Nh8CRXLZ6lc87EDhFdtAwUK2K0BT8F2N2H8IIjA/3yWLjeDzOzf7qyIcyXGmYBr8VIw+enRfgPzwv+fsm0P9khgA+woPK7/zYwRZtzES/2M+49zl7u8lBcdxdQRDu64HvAjmIrYkRJsSXelAYtsNnZtmQvjj6+dHbUccfPVmuzqCcUtOKmHNH1FBSlMYGs3ojf+5IbADwrqrOdgeLW/hMj0VZKg9vOq4Dhdv2C5r9nUM01cvVRCoIpuqm6aXB8SpFqd9CkLnY5jYxCZZKmNxlV5V+7tqcizDdrm7ZtFvqtRNk4nZgnA0ch0W8OadvvSDodHmsD4YCu4pEVDqIheg6J9o6IlLqiqMM5hAg+d1aw7cZGmzCQBZ7Q1STI8E8OKe0oSJI6msCHxd1wBXNyXiTJxRuyNhfVaVz5Uh9IrMwBq8YZLZFfk2fhzKQzoXzRgLMwKZ/hLdr9qSkN4y0YtINZ+KQtnyMz99bkPDZ56exaEwAH5WOvZA4o3y7R5Lu1Tr/rWnbIjQsDLE+k1o/Ok7Hg6Afnt15NNiXWS8JSHHQkyMR957+mCa0rRQKeLrm+pClbH5N1qb3C0dgaXvcuzRnrlTs5E2XaL8DLfr62coecIlpUVnhbij1PMztMIjFf8pokk7gMWV2qlkNakyqRrdEY9r7sDP+VoSrb0vcavcDziCfUOdDo3mAGN6g6mo0P6zT3SrmQt+a0pXqqf6QiOOPBKp6gfH5aL20SAQtFsDQiSzbWEam5N2QbIWOCAa5A5gWjMOS4rte1ww7iLDcXcLPnDC/nL+wmiYbqZYeLZdiQHoJUtKJeRBC56G05QeXXhwOXIzyUG46W9DvbQPgucYshqmjVnSmBm2wmmU+Kg1bOi1c5Yf8Z+xuqhkEc3odZVuvq2IrC39hQ/BhOYTy1VOkWpuFBlqtcb/hvX1JCarISsSf834oZPSNP35/CrdkoTUMUmEegGbSBUwDmqn3giSJUUc6bOuZFoarvOAOVSOtC9M7c/KGtWhVOQpxQDHiC+M6iijiyvtVRpdHvZ78l8EyTth2zzKngpN0fBuLTSwD7c9YRLJI5mGQCxXaEq7vUUfS7FCXKY2I27cpjmSDNX41bK1R4mlhhshqTZGmVJ6CasKIPj5Yzb2wweqser9dlTRDQBiyX3UNtfRA4DMsQQ6tsSMSR3n+F1HJYVncaNb2I9t3rnJrM2WXoUNNsEwmIpxM1hyqEQhO9Wt/PLH+gaIdOSNVx1a6iaEGjWyt816eF8k9OvHeIAdP+yP9fNX49mc97nPV/u43e7DLSjR19qdeCaWGMBIouYVq2Aos00/MO85gFC2wApb/HX0M4FA6+Okjl+iki0xUmGVOKPKyy38fYIi6IHWPQjoTfsZ/wNBMXy8dIVRsNnkdckobPe3Y2xTipxZ/ZOrYGobt+sqB1TETmjmqdotkTB9C/BHj0zAs9nTdxmZSID+evdf2K74ecwC9LVdUdY2vtvMtZ7N6B8QyB7va7VoW1BbsnzoX+YdMxg0/SyUE2ImiWYfE5nDaIu6es5EVcoJk73zgf2xOA6PT3DqCH/mFVRkHHWiv6F8lf8wAUMGDfU4LVJRWyi2kUV5M4w5qix0GirHb6D+WyHJjJ7vL2+cTaRctzGKEYPrULdmPUTdxlmpgxgBuZxsVZx1XHvxesJNwAh0lC1g3lzNDj/PwM4+N73zAhGNfCHA9noipE7CJDjRe2mgKUnXRkOSChI1s9lusapUPvdx9o99A+ydMLJWBUuPSV/hti3RNtO/4NfK7WA6C4hS5LJ9xsDQtENajMSowkLqlfFQGq1WNFOeQeEtON5HngNXuoIfLzarF4kZBpgdPyeGZZdfe/waiaefkohkDTFbVIcEbAnmWZYgCTZhUcyum2w8oAH6KHbyqc+2OKedDqTyB/c1KZSKcHph29qY42du//cxTIzr1AN6oc8S/pb7c0Gqn9cvw+7Kat+J0xaHYa8YWG+W5PMiN0koA/A6bFoPT65jUOcA5s8+3lq9A73nEAruP111fBNbc+/ugk2gPf3nByE+5INTCs4LZfI64p5cAx2CB06dGhovOioIVaWOmQMmjwZWo4LztmPzLuoET+xyeoPHT6lxo2mZ0Zt0G1O+2KphsRaQIB5vgpNEEyvw27rvTaQQlfcc1qRmYnIQGH9VDaeSadkuwx/6C0t21ViZWdXYnbWeqQ+L70BCY279XJfCMJRfWGFatiJ6KWbLRdFRb8Cu5RPogC5p+LYm4fjwJa8nOCNeYeD70k+ku8yjiL9qqlW60a0ppFae0iv4sb9di9oi0idIuYX/9LaUEE4KDeedDwBgdQZlhXQH2OhX2+b4QT0xxMLaAztJ+KgJ/7poQNjeLn6YkYJNWBAFQ2rgU9yCZX2dEn6ObtXVp3VR94DmzvkGHmMxR3hJp1lwcXQU4un2Hw3ReJ4TNt1wikqbCT41NDE5b1+sncDEMACxOt2BfeBE8NcwBXqcX4MTXCNQfrufaDLCM3nMep/q3MjZInrvb2RZkmfNKO5rhb8u62IfshIKp+H6sUjRgU9BTA/Z91xAd3AShRbR+Iyo33RQX/Y7uPKMU8TTSu2C40geclgCLVT992UFTDBMoLHKlUFw3NsbUELHPM8//vhuYesRBrEyK1hbCYQ5bxB5kgGByC9suznM+TFFAN6qy+Yhon9SaXJU9lDh8dpiFseFpz+zQNOyooYHII3f9BHonjv5CWy2UGCnml486j6EciIQNszEm4Xd30iaabpBptP+7trJeQsK1W19uZ+5I/HzcRuZqSMADO8OE3hbeDBtP8o6DYJad4En2xpvB/JZUvT1dE+P1J9lYPd5F2RlbvevTBHRLCuT32p20cCHyhN3CwlF/cah/97rQ3G5V4z/4SxzgJ7sf3h6+Q+m+JqoBZ1lxXLT/bgAmxrDmodF8wBtpKnfFJByS8WZq3W/Pp6W6BoWLqaFeVb5d9INV/fLtTyN648IOGI+NmXhogAPgIoeUzg5r37o2RIaSwh2SLwdI/52HOiKNz9C+l7t1+4C7KAsSb97v/QvaSc8wCHEkX+3yvUPNeUY/+jHUo6Z8D8SxROVNEffciOL7IBlp/B2TJGC+swhgGyPJl5ClxlqTxxx49mhF7phz+lDApGu2Thd4H/GPzwdYGUBv6NCWixkiKoxVOELFMAA/zCzNcRb4ecPuEUy/2hEkQDyI8el0GXgJMNaGYLDQIJ+4BsJxBqQ38NS0/aiDsI9/yOKP8i8SVetqUYG7vkotBxhxvamjrnHXDCn4cYMLuEAsS0O+S2m02d9YjzgUC43MC1IKd6+RHhaqPJofJyDReH4YXG5b+Uhvx1cvLvLGvrzb3NHYkmrR5st8osFcXm4r7bkZOx7WGoZYhs+4iaXfTW/LFTQte8bAn/X3TLyphM6fTA8Jy2lpJ8kwY/NiY2ssT1UIIiFmME0TeyU1Ob9bT9LU3j74db91OyDSAa64V4f6RZqmtaTrxwxBFOiK6CttOFepZlrvsSYL20o2sBwCmINevDyc1jskSu3w1BQ6g0RhSzATkwbbtD44zYsqsldEetSY82f++dgl3X6uMmXm9/UeLh3tkR0+xJJ9D9rrM5Rvd1VDSqf+xknR2RLqEfzjZzvR1uDFA8eAYHONP9a+2WoxwhzivigbMAB+sxMjku0gW86CPvKtEfSPrUqgKt23OSUtJmg0BHST4EgZDQi8FNoTRSkiWEkkrHjF+gvxY3m84TxxzFBgdb05cYdTMebf4ZkDw6sj7tt5oY+hLZSYraAUZfQz8JkKsRzJplfdLUvFY2YyH34OsgaOy6fSY8fvthJtoLReLjqWropqjYqC10mtiF2nxUZH0sHhCSlPdiElwK1BheWJ9UmbDF/5d39OtKdbanzefZ6XL9OqTwtcfoQrTZLy/07VDHc4X7Pf8RZjgbeOeeGcY7XZAkAArE74F28gNfQhoANJFqKeu85WgioV9QK7cGol65NvBlJ27ZviJlGbDAxSx8XeFtrAuFj+cFlvXXrtOwzL15w8+6oKcfs7b4EVAWxTVSL+VBQvNR+oVoZWPdocmPdimLRLkGqx84ATrMOd9UUDrwGoWzgabHRi+SMrdr1Jl3N+DujQffty0XmdtGAQlU3j29nj+fNAdK3us3hkcAacNBH3PtjtOHYi6eZT7NDlr+MwbxpajahGzbQOvOH2i9DXSPfQF6SIZVDmspTmBLFYyzfjkZtQ/2m0MGgxFZKetz83BqlxFov1gfb+E9MAag8ua0tLMZzDm6/0/aolgHlJyZhq56cvPh8q94Aq7sT8Cvk2Z84d8UmpFEoIUIehrRUvdJyLTouRlCSwf1OBfCH7EURq78FJ3uVE4g1vEc5DMMYad7J3C2gbIClKfD0QPQtkLBkPuBeR1i8WWKgUCXeD+LiJNsCV1lVWGjqve8yXctisjhOIb6fhaIFYExedO3lWu+pexmVp7HxbDFxrna3sZkQeQseEKkRvFew5emA/vBIN6CRuX9JCtPZpTdpfxDlEvyicrF+35/PBuNYUssDOSU2muBugjqOPo7fIk97/iVEquBegi4A4GkhHZfW+v9TdwCisnXIqrKVPudR20bb4xv0DN0na82VX2rFlk2wNtsesJ5iglp1HdwCRUIuPml8cLgMuy2w7R+gKSVFwTTOu1PkTbuzQApe5fp/aQ0te7Qz+W0SbXnQEqeBPFWVpEAboIyep1vvvN+3Zl25YJrK0UrK/AVh337IrDDhBzqCrW3xbm3/BndoP77enoQbctKpbssneTQTILXjeenNvCy4R9Mi6oYophdiHXdaB04rmLt3wHlfhFA45xqvTKEEHIfPxA1Cg+afpsoKayQK9VTGpwjig2Wupm1gp9IRg49RNL09hzGKIoOQ+AztlgeSK/hfxI5xoM+an0rOuFSV5MD7kMXb3Wd8DfQnzbd8coPucrgXwxrVBkWiW2Ru8W3GJFCYN/bA2QCrfrNwiQ6IzYWtISZeNSvEzlgkL4hUGUR2xUTX6Z7nyCJUx/WdPgTvVx6/Oz/UmyFLaOwCnb0oehQBWIjtpTYI4iDVrjXzrE0o8V5iEdFEdJeBUcIrEIomV3ZGvqREibmt3o3kRwvAk6m6ESyaL6H+EqD4U1hQh6VxLYTvZzupGM1s2QebjDIO5IRdHcKpgYngfBJqFc+UtRlfjRStEZ93s105x6DevM7zYckNRw33njnHZ+gGxTw/1bHWzvIHrfc90ajpbMibBK4hc791Oelv7tgeMZhOXZiLsYrZM+axcVylfgrH1v678A5AxsLBG892+nv1/eW75grIiLBDhuZrN/IjlP+2blxJaOfcKNkhoRlnh6C5FjbJ6O56tIobeK4k74oL+KZBAC1KAWMtiBzmgxYHHA8lPI28vneDF/nBoRctN8WIiNmseNPQyYFbv8xKecXpXVYD1PC9mnWSSU36XuTY58eAJ1rx2oGT6eMYD+1c+r4plG2SsYe0Z+LZmqyXH2UIkwJERH32W7Ti90u8wR3Bh4urA5kbO9dc/aMKGocIW9lFVHFNMes/0njVDxPu6kf3NCrNoD0/zm4SeCAmwiK5TqKZNOVghnGifvgpuz9j1njk4fTSsTUY7O24dDyNNrYVWsm07gmLTLyAoogw1ITmO82Z/tAwJJMKRSSAALSvxOeq0ZzxD5C0cYYSpQf5Tp5sGIbEJDolXf7j47cEkKtIn2aTvcaSn45bdEiNaDAsce5ANlJtQD1TbVmgtSPA+qUr6qdtetOYKs8KQQ/yz/CIHyn0NsB1APe5FIU5TgEiEvZcoRIf7Re4Ls4qcC+iAslM8dmbglK/z9ucxEWbyB5fUyxD19ZplBSGjxulCJpSRCvrrRkEXfriDW6EDHk3tXAgI4W3z8mwL4TIHZERL+pg71DG/R4xlLKlNos8q8f30VaDrx/suxUpNqGoOwtHlWclPNrilwHe2RQr3Yp7AyNCGcb1vCQ81FX14lXqmy4jGlHFR8sGHsq9Je16IRYL3dTbUJY6XpavkUqpN86cPZd2CgjZMpduo3HRzVQTu6Iuqc6PvaYA7iYrRU41KkY2n8jx9gYDRDYYHXSMEWJLxynqO/L3Mb5sZL+TW0kae0lEp4GjIy2dzNogs604j1rd4DdhPK1LtUXRxJBZGaCDvREf+B4GWM6rFtXpBWElf9EQPV1ZtNcHbWiw0Unz2OPLVqfvjno6Yd9tnVEdWQvxWVuefn5c7Je/GjByMg+1AeOpwJ3e4x55LGnm7w/Jh5TVVbAGNDdmLVTkcYkUqu96SUWaeUBXkVCl32Mu3WDmeeqt+57L+w6gSBdW0BaDw4yHrnukzztsh3v9iedjjEWzJfEYiZkyKSeL2NDKFU7yLYAb8rv1m2P15FVF3uqqgT4xEXoRjds8sxDKE7SxGhQdtn1A2WcBLmrGeNpjJqilbbklcAwhkJx/gEfvdDEUjj8nzInhGAdB8baC6lSBwJv7yxJHISndjuQcyFuy1OwTn9kxWGRd8yReb+9cvcIe8MuP+gZREJYvIyUoDFuc/s+A+FYUs2UhjMKjs9AtpbACiGVjaEgwJNcVj9UO9PxhNP4TvEQhlMAjZtwEcZBy4xiNmRi33b79TtraBE9GULEHvbCGiiz4nCG/UAQWSTqYuXYlqD4xFr3Ays38UZqkfmwqEyljeETqL48u6/jPE196CT0PXZVf8C3iNOWfXBnyBLz9UuSedXhQefSQaIh5Swieyl/aRjptTC4MsJ30+9PteOrM6MWBREMWeX2iQvTdBVmj2f+mg8v+ZC1Fll3KrDSl1THBJgJKUfWV54AsYQJ1sy29H0AXbnwR+Xwn7Ri60bzp5kNTcFRCdVjpUvveaWtDJ6E+3mmZUlXIZnrQxe0gU46OpFWBkISqHDaaWS/T41uoNo6G65d2suZXuhsxxC2SV6b9m1NjAgranpydIIuP5TeyVtOf2xjvO1+dPiZDFAEbCa1uXKBMLqRi+vNCOiONq+xwSOjGYCB5AIyveTt2HUDtAj+vpFkXHTCWtQ4dk21jFSRmfWvq/TrKZj2olGrqK1WZ57IN38pkVavUyR4SHgybRPn7t04j1+VVkqthjW3pmVlSKD3Ha1rAa3nvQMxCdi9yZfEaI6neOguivrAK+H9Wvi5B7fehuNBjszpygiDjjd5nKcAfzfWctGTlmjNMgk96gb9Wd76zjnq+yKilf+QGg5qQ7a+aU20AMo7/rRkhkuGqQ7MbKreqVqVAiaJjoV6rlfRE6vL6f+Z4INYgZ5JJriVr0IUmgXQq8G4J0dk2H6PEHFjW/NDgmRtjWOrxBPLoQygX7crIiT65JObWYmm75Ko9EFmUD/a9Zp1r1V6HxrzHTqFeR4B4gYMDl2ZyF/RClguk/M43kmJEO5nXBOMdRH0ZqjVMU+fyNl4GaqJSChpIq5XMTiSPsM/rgRPh9QtPPxzICOEE66jIymeLDnl16ZnbvRtOg1Qr19Y48y2pCgAXJWXBKYHLXQRyIAaxSqA/l5PjUIJ5Sdbp/3eqTxlw5liSJI92jHVfMvzarmXPv6OlbNWvlm6wVAwWwJeuRFuNBzuyc5OtXvcIZGPc0whOype9Ewx4rokCmuWGRPg4G9VdKeITttNh1dCOvKpOJwVDALOtY6JYQEL623mP5oINhWjrvYWJ0jtN0lfhcb1xW8H9ZQn0bSFSq57w4AElxg0AHwREhzLeGiV5nhtYSkTIYXJ7jaBrZ3CYfZlsLRaxaQsU8A/2E1VzmTzHIvzcBKhcWj8tpR9h3F8IomlhCuL6WyCAAJkX1C0N7nK6HQjaptDzMBW0SUAEC50x8CtzMPR8grtpqPR0zKrQ/ZJoi0+XKM42csMOlFMAu1Wq2vx/XnaqA3iMI6K45DHt8TwYWBMssl5DhtCUhfT266tK/SGBaebDqC/eKxaMgXJKXT3eb4yrw9CjjYmFRjbzgHCwk5+FSqu+kFffmKZX9XAewBMN2hun246yS6CaqWPejf2mcdDQSsYrSgzVGOF5QlhWp3BFv45aS1P9uMcvfrKYBBMZohWsy6KH8KwESXWJ8Co+uwMIooZ5QEOYLdrmyyTxaAkRowfQmIgGdS8yhk1ZJVMmzaGV+fggNCPNvw1wmJmwCmn0ipVdq+4hpQ8UGooDUNbZ5Hjb2rDrsmkDY8x4MLz9fMTSx+LbK8Nm9218tQQUXJJI3LGHbC2lc+k/EZN/Q1TYxYwTuhHkwc8TL9BPfG4CKTbZe8Y8u2MYwT7fav4cZP6Y08ZxJasN0u/V8+BNB4ExUYznjepmXgBbtUkUZY7E0zKuAdgWMQctqQFFN2o9MHfb5hB3VSK0YILEyjd5Zmdx4wte82qqJ6QryH5dwS5HvblbkVs1rjvIyA9YQWkcK/YM7dP2Ie7jlOwXGrxsgEwz1xS9nrkyhyCK5tiQDujMqPboOLM1c5WvI/1bsbLbP27iXH197d/o/i2vSuilkb5VsBBbQz7Edpb8/uqKuT7zI2fHLXtrM52bKUcaGkmDIZOPuEnUc9KNTLy5Ehz3GxyjnFNq3alcqGl3I3dVIM9JZPTzRhzqFicSD6S2txIY33ScwNynOl1u4BXAYFd+21sbJQ7tLFCrd1nK+fKdoJUP1OvkFN6Sh2XRB3JPLFio4oNnEF2+QEd0Su7fgsIB2rrhYIPMA2QwQbJIciUTlYrlElFZvIPUIlUC3rKAJDPT20bHUD5ZTV2+/L/+U4Rw2YO+EQgI9ywt5Ide/xssm6jPaRYTL8bmw+VOe4kwsx6gg10jDb9X3ILb3Xnoi4iPk0dAoLP3Cv3WmzY0CnUu7e1TgJ0X/5JXYsVBPtXN+ceommkxP/k4dNSZnrw6KqFBkC2gI+xUiU23+dOq5oeBfpMoizPInFJ/MEEo6l3DPKPLMkWQISg3QT7LTushaAS3C/jiskexKxElSSLgwDkp2Qc1ttS5XKwouu84aVckoqUxt6VkL2uxxHLOiEcrR1+8COG2gV7RFtUHfsztUVIY7SbXD6C3iPtfHV823SM1+t700MjV3ONdNjsC8DD1DWBpIAs828mFejoOULkSHBmfRD1N9erzZVpI0FsYYUSRudfcU/naU/syPM0Pe2K4vG5OGHndxTMOi1Ya2ci2dvfoJDPFUaoE5GSqMPztXz9i675nZu77c7xG2c6zO68YOHe+SNgHMN4oqVdZNP2oBAXuuo9MA8qdD4P/14qMpvi+brk143qV3teaXCpoOvMOrFaaGJVzjomfk24DXfHCs0YsMAJi+0hEciLvs8zYQcN1RkZhTWYRbCzogu88oVlfwfYjL0mxSl07GIXbIbVqUJSJpI4wC40HL+ZQ6cEIjLvTYA8Dizx7aVs/cVBon2DW8AuZsYJoMxJW/DOcBoBj8JA/ONm+UxwK8UrWRUWfJhW+EVAwwLZ0z6ZQn4sKnlXti6r7KWacEJ1XIwNbV1Dv0lc66StGsIzuuuEzpl98hfL1Txido+kYyrOVBZPVtgd1pqzbgixTRyEXJ3GE3naNPXWivIcPHVib/DyAwDv6EGbDnkmS74LkCe6t+xkAKQNl1+pBwtJbpMnhqA31S+o1DWOdQwiMEipWlLWxMDX7FE+dNRGzNLmRRD+9BdN+K4GVHElLZzK+irO8ePya43j6iW21+lljAsaq/T5W9kQY1YcCYrRwvrAknFpAeSKvDm4YIp1Dd2N9uq4h5xsmc9M0q/4SfvLcMltZq8iLjc5e+jnytbye87NRR15SejzEa5vc/IYTgiFi2Z+cFpp5kILRpTe/s/KCLPOOqY4ZxthAoKBjb69uiGMngUyjQU6t02z/59gxzeTDEseCeoKHD0ve2ulBOfSgrZieGqb3TKgMGonocx+w2CXhhiQ76FdDMsYTNLifPULnaaQ8XE2STMwqBaTtESVVw1T47AhDzzw3/cH4x3eLeUc/aGKuiWjCkV6t2BUUCfUHOegektw/soxNcq6PO5WhHdE0DqiFeKbwR8H8Bfa/dGxXtmJEPhWdElca3POpwWo3NuvRiq+lXtLVnNEpKqNFdpb2d3W6p03WYqx7H6L8KhcHT+oOlun0g6ikFVbQDkfJb7Oy0UuyCNtuU0/jonwmuC0VsSK8B9CEY1JBU5OJhlFyCYpHwvgVK1Eu701AFbhl0uoHCPpQAPQS53s3IcVLaiSgweZ6HMW5jsa2R88+cfVVA7LlXvkm84acqFtdse4GB/ADaki83+Zr7Jxd6K+qEqQxCdeB8oYzMKHSo0BTDyK9vscQ8N1qIYZ9EGckmIpTKOgsbhdYz1U/4T8h8Dbtjfn9Rwtz7u93TdfPkmIj4FW/UFS6dlgpxFQ06GMnlD6VzEkvssEaPg06Qzz9nugZ1xG3TgvExHIp+kGBBdFGmw9fj4puVXERHIGn9GsPiaP0cGcklZm+IhZIQotFVrKxtTDHGDMlUqZheoysqYmmIUwgKcXNW5kih7FH7iHlSBrI7MgYn3OyPk0ybVWCPgXKTcsxrkcXV6wQsMzacGyovMKLurcrpUEeEHQegq/MwoJX3rEybGmPHFIpKgLPS7pwA+ARHevBZBu2tuAc7lUX7mN7o/Y0LvgnV8KQHBymt7ZvIfgzVylZFPTsdBD8eGXQmj3Aye9hXAQrG2nkCvOs+JS00enQYVwxyWHX3/DcV9IsjYgay55DmSelKWnTTAdvPfY1m96zL2DCdV1gAsWl4hquBrPaqMzPMOFBS/xZhc9i0yoTp8utio6aacpPT0S0/1nrCGgh4n0ZdHAKoBpTIp+Q0F8Jshhitns0g9TErwnS6K7yXjBgq0u8JC19JrAhJD3MxpxxldX8VEVjaft0Cm22lMhIK3LfOxNExTKDuVxlfe50DAoxH0c3uxxN00M5hu9Jpt40Q2IXVmBbnUdFkfxOwjk/i3rt3YzIL1S/G3sqmDXCKiGya0WcsJq+77TkxxJoaGXfwHrBfof90lyksVQcygDrrcjvnrbySnoK0bAu87ymx2GfSqGFv/6dl5gUZjBXaYRl/lvN+te/S978Ss+tlD67mXMVPxooMevdgIHcrGsLgveKBnKdmfHLU4UuJm7QQ0wMF3sJMG+bfpDTMAGo3wum3bUSq79mb92+Du2TtD7Yx/OI2MIfyd5jqKCc35SrAw34XcIrTyrDIQl+T4jE7mjb3x79T7AcCJLEKj/yeOO40zbSLbd46zniT0S7JZjH0el73XZjk5yB35tcgpBBoN1FpPATA5/bzF9vEBHDMBWEylULABKj7nBdV4mUiJU6qV4g1f+gVLD9kxTOAyw1FYXiF6XavN0ckwVop/GOjKai4JH9PFKedF8dkR/+QZT8hPyCj3uN2yQarwHoVTzzRXcUWZPIDDFcrE904vOZlYqjRZwCHKv5AaGfopVCISw7oNTS3yQqulzYz/lo/Kn5webUHmwnK6mjVQ3BUDU9hwRN5sJdEg+JO9UH0EEj4m5mEU0f/8kBsYBHdNaEqXWCMC2S4dIZCClDrQ6jvwr/k/nm1qsVH/QlB0kjrJ+3+WIlAu9RDL+8yUsdJ8ASQSznPUOMJRS+uYCF2FIW9ub/6BNy101Ss0BSgyiQ7vaIcX3L0HGTnGKlvN46xfgHM7EM0myotWCKNY0W8wkJocrd9EhgKNtVvk2m0ro2faFloOg/+YMoNMEEDAL3tICXgbQFP1D9meOHHtG1Sny85ojiJ8ul8ITGCurOiQqlUAoBgXC1UhaRfaDHHw6N6mVRwK3VRleBSmKGhKV7uwZRIgrzS3ejx7VtZRMRKPzrhoosZ14eRyUcjRFYRNE478qRGQj8kHDQNNR0KZyheMoJ5jAVsboIG7JilW7E9dW2TLZYudniHzH5Nb4z4/rjYADLnzFQOCM595+PS2qFlGe3VP30lesGhIbaMA1BqD4Qi/70mvgtNazJ65d1ZP0Z5Ku3WS/sAfxQonwRFVLMUG/gOnsxA0OHnHYi193IV1j7QSrNgXFNYzfxROGKJWML/+ujsvuvDNoNqdIHsBmojmT/viOjtcsswIDnmLzNpfUVGFf8kz4EslqOyhYeqYfCrkHgMH93yaaAkbMLb7/DndDnWvAMkd7V042TyGefymayv0bxUAUhZ1m8vEZL971T60A/pLyOu9qdRuiRuzO5FF0e72E+2LJhR7DjEVs8nh+iJSpvBaKC7ZtxFEfG61ot18yoUR8130Cr4ujfta0jECzVxrHjhuLUh6PIfTh6lzIH33Fdceez0o3VtqnaE4hTgO8BePAx6VPXEMCaB9/8MRSxN6n3AG9mdKUtG4WYHtKo6vJKPixzUpOomHG/9AobBw3j5MCsnSl+nLeOcAuKj7CG7Rpwp7F0CGJwdz5It6hkSJV8IZNDrqqzscAJDhUBd2udGQY5x5kqeIENyez17hnyA/Zm9HPq/7YAMkPyVKIxIAvd8sh2OJJXe0JdsUq52eTZT99/tRDbRYgtH+3Kh85Ghlfx8ZUA1w0E8KlHLigHnnEUOKPjtkYq+gRNmxiRssHDUgdObOpAa13yImUQMMTSSmeCOgghGa2ho1wxIqmS50053wmHGHJRV9/sbPyo9QboK2MOgKAPoZx0X3zg1l40FvSYmLt4SQu4I6MLWCyiaNnfO4M7XhuZuSKKJoij2FbB/3xumkyLChOw9lvvYG9TouOXp4luHmHzInJQ4JWdF4SBI6lwXq5mGE/0d2eLevZe3Nm+/dKoJmepjvV5/B/tv6zBRERrqa/7rCFJYJ/MEnmFIPAqujJtb6PwWi4GehrJzYQCeCKlJINdXSfjT/LR9o5scx3JZHXtcl5WI3N/Lcf9fj0E3iUp9VJB9ygNGR3kh+gS56kwcrrvl+ZC7/m5TZwHNGgQKE74TMmX/wyjujNq2nb6Zvg2PTxqNxIBj5Dh7p3saPAZ5bg9DoTtTLqalFtIBGC7jHl+y08JXIz2yXRbRCOS2aGQxXfo6H24PZsWYNwr/8F6O0a4EaZS4sCLqcq4onRl0MAQTl9ED6Yy58fEovvRotaRYSJRmQcNgiqQFq9ktNKjti46ws/WsTzlcBrHWnIRHqyiVd3pgTXp/+MucsjngqAyLiEbQ7d1VqLNFsluzkV/oldBNFMUbbtMSCxkSI3Ntdw80iOPbi2q4mjZXRXhBQvuKWwvdH1q6fw4txdG6A0H9JYCyMfikmi3MCHQHCtKxmm8KGnzV+uBGDXyy087YK5OOUCOkzSELH0KMroeEwd1JLADqyY7w1lay+P4AOFOCEODytlMa3xNvWK84WySMXTEaDpUMIJEApLIlrMEbRxgj8LMswp3CGp4oMz+Q1fLqnJ4W+frdTGAj8eRlMVFUWNxbo8iZ2Aibso9aDEhU1d2OdTQ0hYkmlmhYq7Vd52ZbuudX6OJwrZ7aoIOePwHZOUM/Hv0JmblFlR+cC5xOlqczvjTtTzLoX6SRJ0NbXqO7vhtFs2g4kUnVz2xgdG/jSYWGlDMDGMGhrixhralsh7zdw7/rbOGfQ1+majxJrrnFdmOdb7qNKqA2Z1rNwrbh+Mtdwn6UhOkEeNoazWIAM/U63JkZ2zM0ocYZngMW/cy3JNRIGhQV/lvHzRflMTQUnbI/f1WLfG9v9V7dPMaaiatKnp4pmczjoBOJYj3kAAqjJJo1b19mWDMjodvAVVNCfI/4fQ+wS/2t0Tz8dCfXYj9Y4tFQe/H0eYdAo7i4+W8p0op4PM/+U7x0lxiPXCWSxAngkqCeblUHawJ81h+tA1rBmunnjojq76OMvg8OcH2/NQcPM4iP9AbWfH0Dlks8eVDB07kHroD8XkyV37eKvhDqWtKzdRyndB7aNH+XN07Nt4Caz6/sjd8O7dys5rDpl//T5wrcmQdEvpvsG1Nxg4QMbCSdZrcMsM70I8qqZeWfHxnbVdxNL9WApkLvDkQcSU498Z9CZaixJS5yNrzJ39IUmqNQ+T1Oc9fA2NNvbdFV3TMiZkq/Dq+JhMEuiw8Crz7iE8xUGHjId+KjCq7hTWyEBpjYuSXCJyGCTZuHySKXQOdP56AXsR+sHIy7G9PHdu83jBQe3MW3lGB9tFf3qVzW4Uey0ZejES8QwtEeMjMJ6f0JlIEM5dZBQPVtuL26tAwbrnzoA5sBcx3UmGPOp+UmlTzhQ678m+GciGHegxMvOsCtDziw3scz/CWJD6NYLQssYP4cbX8YpX/SZqbnVTI9OI83rknCFYyAhksAZKGvOYS8Y6LckKNFA9do7jb0X+MA3hsdnwfWWoCavL7p700zUIjXskj113/GYasv0ws917O/cl+ovuC3T9p17FGfOz4D6anRAuPiXwFdYKAXpHtclH1e9aUVsDvR73Ub1dImIqu0JadElttlcEC3HqSzMlcjhBJscQP4OCaLkA0w5Pf7AlkV4kyvXD2mLwnPjkKVshjgXVQ4hL2AlJwbZ1XCLHnJexJ9HrNBKZXaWAlY4pFzXLjJwGbnFEepFSD5N3ab/nNMYmUEcYE4oSKX0uDj1XDUtODgYFwYAgVPbxCTJJ6k7e8r7BXeBwm5aFtfyRlPqveLn4kjE9keRCXATttBwrijnc5w3+XFgwfVi15RxOIhSNn4uZIiNZGuLgdPzOaaGPtg8OMukzkmnGocqmjW8di9srr/gz8DuAZGETukxZHQs95P1MXr/br0K6DeSVPIj9c9SjzV4MJ8UGXBHGZD7aj0kipzSlff1Z+n8xoVAo4XHVt09LfaHV0s0/f2kmwauEhfbFeH0jRUwnRbKBPPDthYd6unUUg0V1QimSjXbjf92DLRVAe1ddGJkL3HkgeUThH76pPIn+1FIqP+jTQyXJI9xGxKj3a8kAlvlYYHWnqzYJ4XJdVpN44w9txceIouuC2oejWCYNI5txdpn879PTM73z85BBApH9tZcInkhPOwVRIJhdQ/Qbc/reCnhP9edQNP0t29osfKPDpXaY1goVQTaXd3iUz2ey84slu6jxzB7tycvuox4VkaJ8KguZn6TC1gnTVzVZ8QJiJXdwjIpR7w9FYO3NZvvfcOFDhJg7vUJYtG/e49qUAdu68YD6E0tWBQ3Vo71sK0x3gg3ah+h1hvq/kPP+E4JC/ZMruuSORQIEGw4ER4X4FaIPIJh0bJRNapeuwZ9hX7D3Mg8wx89Tu+YHPDyaK8YiWiqbcehOGknhm56gl6nrfDSIzxle6Cimch2+VjaWDbII992CsNqddpZ7ULjyIH/HcoZ3PcgLlCa9eaRHnYDWBP6zUqm9dQHI3p2VkHO5yUMlao7Y8smWVMYau4/yP12z7uozyhkG+MIWhbBRbUjZH6fR8agCxz7DgY+QU7wQZZx5bshiDdtWDf8gQtjAYzkHBB8iIId31isZ5MiIaZ3KEzIwhwnHloVoRESFzV6hMumiYHEft/4keUd7JvFDvkI/L25QP1TNvftwP2de26zWSOAr3Ty9AdrX9KeNYNALSrt4jQ5rUZSaebgkiIDKGsAc+svs7mLZ8arp3eDyF1PgcodBEXo2/qJb8x/RsTRBlsrXp9kaRCDwAnAmhJLxwNn8ak/pS+O092HETJjewQlCEllvLxfuqOgiia0rxWPchLhPEQcW2/E3XsQ+nWFqt26gjFt/gCOqhOEIcvUiPOfnFbiyMX42BSjYyp+lMKv9/f3yHxvuFdzZXztBwdxXk8jWlRf8TDX8eWtloE4fFjXMId9RywsFEAky5UUA7+rxaf0LbrJVU9LsRnpX8aROKO0uU3iSk7cNn0SfAWcL6LXJ9p0FjQFxCQeFwkdt7rBBzc19+ohLI9O64K/z1a9k/XDXN3aiTLGNmKWmw/sAai4bgKMq5JwaYPzcCA9aqo2WwTg13kyjVFx05xf6dEQTCcvliSOFRw/12SCOLs2bR4cpEEZaiosWtQb1OldWBdE4RnhSP9ktP/m4FpF9EIj7CbjzI3V8tbsZ+n1GQ7m5DL4xTGQLhACDE/ul1+xp57ogeONHRKg15LhYypdpLxgAA0OxmnFmUMlnoYFzpcK5xLB6Ltj+nCEs/35F3e3JB+U7OU8mkerrW2AjT+uiVFFLj/gVj0KYDt5BC7OtIVGQXUUvIjBxi3LGiCEKxNARFp0H1pv+RdsOO2bXeqdLvnPrW9VafhGw0lI0lnkdW3p8rGnfkBcp6q667l/TQlUR0usQLPPcmh3I9G9FAjI7hqSLJT9E6+m/HkIC+kQS6pDpijAIu5nrqucHe3vWjtNOf42/JwQXqPHoPj/sVc0TRoyHHLr8Z1r3E02QGY8GAZnSfNOIOP9eyhzn4h/fzpwNrofSAnEMKpqrSqajDCknE+hSZzPuYwyKI1lc2vLQV3eQktfTPo0Jpsg2rHsjLH5nYHUigFAL5G/RCiMmyxOt1d/Ej8uhqysZ9QWpsH8BXMOi/RH74ASSUUBOjGHBI9SFetavELJLFKlFBcDHbOzYZoTfGaF88Mzfxd5aWuloebZ/W0eM6EsCZwEabIP4VsbID0hcveRW2bwHmyklW1WgI5D+VIshhj4sr1lyrd0p6wIhwkYdi94KP11+KbP4qAkQppvjGdcyMAsUj5mLXi4S2jNRIZWB3Hrd2JWFbo0WqsS7yGGWsiWwuXAts1d6nZTJ00LbwIeLxqseZpNKTul3++HRjZY7paBdeQtfRF4wOmbOOvSAO1kKICuHKmoJ7hu0Y8W0co7kef8JItMgdERcf/q8Br5k6HpVJJ8cqySNq4GiBiQxWCLnxQg9IvYaQvXiy407JDdESMXSvUhLHS/M7GbPc4tRu9mpr/1JS2AII0LDBCEH9rGQZBLzNXlTn0U6UVIx0LlpDDBKZcRzoinHCT8XSq1QsqnpUlltpuZ3rdRAu2cf2zLmx4egrfMpkEdJdRyla1El3YAQ1U48VuS5YlKkYF+i5cEZfNs/gbCYfOvThRrVxo+m1RHAltSklvNUqWRrJBjT7kj4CpH91h5ES3EvxHt2fuPKX1oqbr1XUplsb+P57b8VyM0svL37ez/VfcHn+DVZ/308ZKt+eIAQWsXOwhKCHl5M0vdgxbXVg+SM18omKbQJRBmBnaIDjKMCMFf+yv/HoK2VeUbjrBAkZt7HW0Qvu5OARWzl5zgh8W6xLsjVIc59wRuhmza+he4Zj0wVad3/dx9dQjsaSOWBj12Fu+YEDiuHdsy0KS1bMHDttGAjJXhUHd2Om4WVRxrxkpdJ4oeUNdrgtI4QnQm67sAaOxs8kQRkleywgc0zDslu7yB11rYTdr/HhJyQvMSk3Hx0/F73NAkR/wAJwGXANTH7o6xr5qxcI9z9Iq9kiEfOwmePJDkM3VbFe0wk12YLGdCVxHCIksgNYsePkL0liYhO0lB1ya0B1fCvkPPOE0mhYFJ96ngu43JzAGIprGOye8E2SqYRYI0vlwIGOq6J+g7OMUh4Bl0iTlXuBLLBkx4tbCjt6AzHA4r94BywFGvNxsOgeCtu0hGy8EJluu+hwR9QFwGjpp15xGiSdBXNaQesDcCodQFVLiB2LfHX+xKIdGJAIkugYmuccQeadY9C6EDii46bMmcuXsquSp8fVY3ie6N9P0gywXCDboGiq4v3fNVkmJIK9TTcfcNKxHrxC+7LMAqCrgg4u/bDL1df3w0jmrrRP/CG2CmI/tP8VG5GdTqMeChMK2zTaakp2zDGrfzQR0lkBxpy/DAiv330uw+qZyu5z8gTNzi9Po900MiCQt9reM5+EX/Kv8/lOKetD4MSqoUtdNl0s4XlBBi/4rxsmIC/DtXxCLMbqqIEdUrvwC9i/8wALN33kOP8uwIrOV8VlOqS8y3o+cGD2ypE+jI2Exh2D77mGhOfCJugRFLEF5n5eqBgE75JcSEk9ziADSnnekqZUUEd/zWKGHLc5RQ6EAEXS4BEF/S6T8W4mVkyyir77fOXE05W8r8RJqeA5Kq6Vw4FqVUoFFrc7difU3p0ks5hKq7wqPYrMbF7hsboB/R6zUHC+nIYSrW3ZnpsVRuRCknTr7bWfWaxUchxFaaw3YauSxr7mqy5ic3OskxL1v3AWI4qnX3pGq3FeitDcX69sk4N/BK54g1QhyUn7tVykPd+q78VjmQu1TEY85iWDKx7swMpLCzk8AJw7yevZDU2I57YLEPCGiQ37T6UKoid16iE8QEzwCaPa4rk0EEr0MiGwW3aVbB9bD7Gkpqj7lfs/M4umVXjCtpO4DismmKrEZo9FU+kDuQkc8QUd3ysu7uOuZgQZReyeLXsvlyThShgS9LTWXxGoACBVqgkKd1iei49urdFVqdOGLaZSxDQP/0+qBuOI+KOJ5TTk7OoIYhfVfMAgruzzAWbOyu3G3EVai1mIXxVa/wvE3nrg6Z9MNj48mTZvSuPlDJDYKzf4ddWqK0FxPhY523vRon/aYRrsXbgQVd5zuNysSI8h+dQVjAz0uEduWyLW88zwgeLmwMeK00JU+jpgUgw98UBSC8gNt4kadvBoSICjg9+EoRrrppFeMUSweRJfXffTQ9n2fFT1WlYB01OFi+bww3J1NIY0C5EpYFHDMwNvTHJmIolfUqEPuaVmDGmUizbNl+LUTMqrjMCe7OQ/4qZabWm8noMbLFXf8LgmlYk9odqzmpaN1NyIeOhCyfIiu0wYOcsQt5NiTFf8oMPpgWPyGCQs5gCRZyPT+YKhiqmEJadFQS4PN7A5MCJzotiWFP6Jffjt/a9Vh0nfw4CC3ekB3SnquJ/6HauU5i8bx40KAtoIuH7fojMnoglc9Xa7vNXNVPsEfZSYxL41mpSlIFoPHArA+7WGk9Uau0wOMrSJPq8O4z1JbGtKBX35ag6mOBD/T5oc0dnEPFZN3xH0Q5m8nWTavdFmx+vNrfBN/H0yQm9lXPddTi044TsJQYmxlPol6v0gPyeaQrfGBLDGZo64k8uJ0XypfYxaFYf/CpjTrd9Ji9YH/4w29lBolFaYNdXkRfjs+6Qkh9SB352zQRNn4coL1RpAiVTlfdSJRfBU5dFmnn6OMeoQrbx+5tUc77U4EGZ5QebqV2A7ewB0jKgehgpJZER6+iGJXMobqnJOGybJQrWSk3gigzCR47Jlq7dxjLoRsGwtyHaIBHAsN6DOk5slwM5L3U9N0wAayHdGR63TCmqVKrxna2cQZDKeijKWW1tNYQRNnvfRv3O4xhQzMNwE25cdQ4PKQiG/yHwOcPnCJeGroTn539sQrTmqNy22T+Ics7CtddwtfW/HyvwMyj35lh03lvshdZCcosxJ75RXWgdClVcdKQRv2C82Wo28wg/lMkHyueMbj1UCfGtWAXl44a4BRxlohzkSr+695+AFY9b78Nicu2jkOqBtNxMQAoFmPqtycJsl9OjT7GSs22zGOI8T1uOhKbJR63GroQVAfnngMW20de3A8CfL3YB7UjhkDQSnGTmnjdtNLFuwIzboiEMo2j0tohHLqceUKk6rwpfX+KmPVgSXQTsvVfGjTXvKv3f39zZKFOjcgv4wqgq5D45pDeRPBGak1ikpTkHDGwtfhtdGZqZ+O88Bopi9SY+yUKLgS1r3B74exJzehskEZ6bt9+i2BNxocfNupQEc5jr29qEb1tT0CTfL8TiTKlDFsggg5k4SQbqN+amWOEgq0kn+N1QcxVPoaMV+IwzKWSQHDA+hCFO+vLKrm7R7qjcwpc/orRi73fCtf9r+bFx+7XAn3rgjb1CuNmi8qF2qkHqS8IeelELAmuPqdwfobV4xmk94gQuVj55AkEl+HuJIl3HmlX2yOInoTngnmy/TOG+TponPEKic13oAyxDVnklBs2Bp9b1E1h3NgodkA0btVXP4ls32790KAEJkRARf8n2hohCLaQgAG+07W3/JxSymGHtHGF4jiZtkB/4poaxWfviVjBIyeu9v9GYASg8mBEBOE+eXfZIZO3zw13hjkd6hOb/zS1quHLfC1NoQQZyzTw/YU0gEktzPmoyZZSfN2y9fpnJRrr5E6UcerwEd/X9lnQhPGf+wmUlvnYXx4ZV5Xf1ZM7HU2BY/3uukHt0umFBJuPxoAQ7IJIlv5seq0VrnPaNDnpg4hP9Eqt7q/3e61qb0UAPQVfQTgQv8D0OflcoQykkZ680395Nxku5A1h3veiKKQD7hua0HSkxKgJx13suMkvY8UOy9zFKi8fzqvgWm7+cxm24rkrUh4RUduzb/56rCyCeG30auzVg5xF5N9bXSMsb9ioFsOaSpjgOfGAYDbYheqFgD62Rdob4yP6cfBhLBoTWMv+Pv0g8Z59sRV2G6B7Rj/NMwKNT5xzFEKsN8Ij7ctH28EFWzLDKkWl1Qh1qBbT1bQmIBSeMDArZF42fMDBcqVc3+1fTwdmYkOC+nemTrdOlbquvhwFUK2lj2lSFNjHK1Put6O7UylGaYT4lma2CI53Hs0zo5VazcbHz6O1UZxjqsAJMwxrwRxKvu6XrTP3NjyK+4RkNkBsVt3ZD4MhECki8Ef4ofP41ZlR6l2UiiDSrLG6YHbfvnmFO3vjB7r7jZdHM9DOxUmaU4cefURgIwDsrTzzMQE4LuB00JXFhWOq+yp6lZVJjcon0Z7Qab5843GQn35YfU7ezp8HHJdm25eaFm+m6uqtVNlQT6dYqRcwiL8uakE2JFUYLFsQ+xEmJ8H9S8o0MlzE6+bduBo8WkMB6wLsAueddn08fqh2othGUuJ6MfWFthNbxSjPI8B9odA7+rHI6dr0f/+8YhZLEMD7ROAGwMxev1lv9ZfjpkZlscvkOk2Hvlflef6DrWCk+9sZ7A0/s5jplDbSwb0T+PwHxTqL/+UOKqKg0J2/vs0TkObnapxwMjuGTnEMpMAq56g1EcuZVqhgeHHW4Z3KmXNkpgIeF01sUlp4CajQP7BoE197P/Aimu07w6EgF8LFOWqdGSGUL3h8DrDVpWaST+T+V3TJIWoUD0bNTJj9WtwllqbIpMlHdGZCotCCwdP6xSqrwex5xx094WQy25vjHG3ZGWJ9xFdGivsA6ejNeyW7f1EKXb1DunrcvMfCWK1aRVhCP+aArIh2fW+43XImw1hB7jasm1i7mzglIOGLH55HEAicKFG/Glbis6p1F4T053n8v8O0eVa2iroRePi89P4xtpH1yMp/Wd2HCtldzv+9N7oB2tT0pQ6NNhkRxV9toXyyErmEzBJ5m1XP+mrI4OgrmuR5uuiJawldHiXwKR/wEffnp5GIs6nxbWAT0dvsnAIao36W/BDDRySUCum/psbFMVM24AFczWvmcBPUlVnrUGrjNRB5H/jb07gSlIpXSxDP/LGiTk0icDAibG5dtSU5h1GJCc8GvKpgUXyK8k5S90YPxOMhzRgZK8gkbAR9Tnp50utBPeNtwO/Hm0oYIJ3yxRVpJdwiv1Uu5SEqgq9DsKiFkEiC3DWIwyzZ7nwJYIFrxYqldyCK9KRRcFxr2RGBU0S8vigDOXYR6dYUYGPap5HA+WtHtDc2ESzOMGxJhu5BTN+dHhO2TXqQEtoIyjoUHDaQTeRueK3TkkIq4FRXo2Izq2r9XqQMjjm7Ry4DzzZbtZCKgo8qvYq+HLvMsNQO6aaFo0MfdOyYAPrsMFS9fff7AOo+I687tFau/xAOR+ioLJI7QacUMD1vUdUhMSbMtZ0N5Jz2KPXBmTzGzYDZtQ+S/3cQEmkUTyNgtoOJdNLb0KojO2Mql+5DJa5vFe9HzFammpQBIl+vqMZ5pbQN+B5E81309Yze/6AQUHjTuf+9T89Cmmbx0UIqscp/P4bIUpUJCvmo8Rfamy4eZo5xFgIczQZy1rsQBcZhQdsfTfZuWfakeIeGxFOjaGdDAUpNJS2fh1ZmLBNVApLQPesG/EBApXrZRQz9YA3913IN3uCZzowlxvn9Go6XizBR+iEKmQOrYRXUiMFi331fylmgJeyTDk04ygLUf7WQwMAX5xJAosRyMaZxpNqGB/JQKH31RhyqieTwbVpIukK50q2jhgIMpwhwPvDJ0CaDgZpOwlixbiBragPUuvDSvAyAa29jwmoXNsHgVNMsXD+Uwlc6EPZJtRaRLrAfghC/p3pZFqz6qBAk+wp28xpG6hDLJoVal5yT/QJDS+gOB0T4XEJm2eR6xUiRKG8+dhp66Jb90Q8LrOYncoflyPRuDmxfw38+u481R7+4PI1CfsLnqUfDWuLIOlxFigu6zg/VFl8Qrc0Nle3YRODJ72s9PrBvfrRTFXcj+hpCiX1MTrlrb6HUstiCJztS3jxAyy7IWvTIrNsboZ3lM3+o9BGJuftzzsgDKzOeGTKDjHXr+W8p9+P4XAOeYWg7q4Btnf6XeWckyXEsvYIaU4nlJj/mb6eQ9PTnUNvIj2hO4ROA8am7lzKJ/HLyKW0Txlr0G2PdCVOYJmn30sdo90gG0zYqC1GIkHClPMF3xNX25A+1AJFOQ7ZkrbW42HYpl4evRwR9dgDw7mJnb4E5zGk8dGzsbnr+eXVoBT3WKH+Etz4O0lnJyp9U0ItpRN4Ma9J8xh52ktA+GuIzb2XugLw+7iEg9UhvGUmz5zUpTlVyjZiOJ0xtFbCJ60eoJEGXadtzBU1MsJ6g74aR+7eyQi0CeRntthIGovh0ZuQOIVEHURAJ2o0g6cONhKGHmbMx7pw1QgsI1F0uKS2ICym1lb5O9w+FfMxZMv4mVKo2ro79k13KulzkkCtjcaFr6fW2uOgn3+5rOHBGFlu+Nk3/hcjWo9+zLRZkEAG2hrgnXfLbA6GXOXwEPdHKp9cgbKgwN1nSIYFAKPETmMiuomcl4PeAuLWIysfWPYR0R0hCJIadXp4EPNKkN3z/rLm3+4M42syyf1aELgtsrMzMIybpESsI2mwSRIUa03gYEK/ILOMq7a8Ag0l0xiSgCN1uUBDqNBYx4kJ6bZBTs4iJN5O7aCLfSWh7B5MhowF/zJggRMaVP48MiduqBGhb/rewszMajw7tv/cgf7GohUZ2JjIV7eg0Nn+FOpSe4ipwY6aX9cKApzxXsztniOsN7F2vnPMO3eIasblx70ZxgXM1wQxihu+0BnRxExkh21zCpzIhAcnHW15krMKWLQpDCXB8CAqsNyuSWrgPlPV4NUij8D+0+oGZCAzCFB7Ntt93Y0FVEfBzXRuBUSemr9CEhzXDXuHzyJBW2uavGgnxwa3h6lgnh0PnFHdCz/uwzCohdBcI5k4AMHIghRROCF3E9byb9xkT3vRfNqVTHWqlELfTpoU5U0OFNnAwMPLwWZLyWc9/1rziqEQxWVYZgCmd2KDV7KEJBrkly+AZzGog9Y44tCjAszcnmouW+lcSMXjzgmFCReriG3gjMPKTaafFDK4fyCzUdmzjko+E+waCPVUItaWrMvpOTEAUFefrlbrDY5XAwkRQ1eUwbdP3WB0VnFiCjNQ1L0nqqhqN/tI4zHTnFXTh0ny3P1/rekookcOYhUjfKWEQwVJcm9jZLUxPVIE4268VqsFzDJnK8+2+GHMaoAIb0j9bNbiPiuzODOYmjOHWFQe5qrMmImh4Ei5hEUQovtuS6D23CQtMZ7dQbpi+bfWhObuiuXpgBzZs89YopLCCRefn8Qdvk4TDYXPRveJEeSqyVdxZg+bwRaEiZfbL6yxdBQFaIH740FZnOL8ltCkZku/Fx3hhHf+Mx4gA7W4JP2/i+JLxJsTRESkeOxO258KFBmGOsc4ExaZEvwQm7MXmeuPukldbH9OYIOT0BIgokSphDT0HXd1OqJu8jd9O3h2ZtJSyxumI3JLXtqwEOYFi4kCaEQ9X/Io7uGm2h6/jhRZdkZqg5cknOAyiK0sbi2huXBMALFo84tpTkbgkpiKOSDgDSl9dP+DUup9QczV8qEuPcg44pGGxQ1pa0qCOXa1Et5hDxf5+u7eSPqQR7QKkAbDCv5+c2XIAvqsUMhch80V9VUmGGFQU5pSXXPIkOOxKY1nWSMJydXxvn4q16EUEtnDVu3fRO2Jtjgzr1VVV6Z7O01zRHYxZyAAaTfX88uupEgSmM1aGPTXbCma4Z9JYUEHbtYO7eBNLwkPtS5udxHNGo9QwkDMcFrjE8b8slD6q1O7wYkT/Tmx9ilsZOWmW59gITtURDxYpfh5xEMDqqEWhgiEczd0QcfxF+UdtKMvuhcGU8bYOT1z8E9rkr2XmdCc/OrV2CVrfHxkWwyhi+iuuSJP/LOE6yE+HVaREQI6h7rhU/wLNJPNaEaQkYV6hV4LHTfs/pqtEfefyD1cT/P+hLl/MV1w01tMBi6J9O/6dqszc0oEWgTwyfOWAXEAIIf5M/DkWqVAsp2em1i3JFSRT/7b3ySqZN2rZnIb8tq0NtD71z+qgTUa7ajdAG/G82G9s1eePmpH8lDrCrKb5tBsFjzs5taIkmP7//9K8lgw96UCNm4byvc5hNLS2E1GEqakPK172XMSIQBzagNNICiw3bCz8UIgqXE0zE5+keCWvF2/yx1vDOf8QUkjxZ7vvjMVgJbbH0PMxh3FQng3+Aia0I6/HD9Kt2zfeoUpeRGX01xzXmI2NBt3EsYq4zivkNkTkRvI6Vx+tvFV73+yGlzZLmEq2ghFGMVlmy5vwjIg6E5/K0g8f2thBuOspbvyrgrqTJ101b1K4bBb+hmzxB0sGpPgEjpaIznfj0PD5TsqFbiNujPaJ1TqTPaBRyaOnSoKVPAHGIrQfbwILAEjE8xAn445u/mJSbpqz7HCjS2nG3S4D7P5s6te1mN1MqbpYhij675C4JRbWO3LMLiHKYJb+3XXVdo5yKzPtckQCGSleASqB7IeoG1uZLO3IPxn0B3oxlbCsv1eBAtdxfOoEF4nJ1QGkpcrw7Yu9jLja7Q32NHvS6cTM1/s9V2qHikdtf/IWuqlToKFLyHdYDY+StEuq+gP7XZJD0oP/tFJGV4kvVBFm+4foLzmiUcl4A8+Hl7lvx872wSGdVU24BB05khMjcvETTWzYGy49atssEBV88AI4QJSWDCH05vR0/QkY+WuWCe6iysWahxeeUQP6nbVkh4G3twcWS6SNu4vFMG/jb7mbB+E5FTiWxVjCNCnSJjgzMQMt7z44tneqr2bz5GXbLXsRBQ4GX8+9hrc20Ct5VKZa/HWW0720jH5JH9Z6GhiuxD/EHuTckfW7l6A4CH4RppbOeashIvCmM1hw+9zddi1jhOrZankqDn7/OT1L7ThsBLL+p8qwHD/QGA9T8kADtQ9hXBWN8sPChMSwv4++1gRty9azSAc1V/8ovByVK05dIsA2emVOtladV/Hm9kovqQ37/lGXk9HODHIGNtha1VNeZjmSXxvr+bWBo8DHu2dBTk/T1YC2ip/iMAKYznM1QpoSa4pwojGJIIYwsoF6yYQMOw9sQa70GqebvMKc/x1DM181wPH7qCyXnzlXxTGqqfV46PvVpwyA71h3+VyrwNPrO6w4u1comfRRPF+T4ZHUyfIpj4qXxmR0QZ7Ue0n3GZ3NWMsx3BgNbsDhRlJOCoMClonxsFlVy1R5JOGl80XklEMYR8YYpn5XNnR7sOQwzh4gc56+HOooDasVaTuL/1W/8WkUkKfBJ5WArryOLJ2pMDq0r0L73R47AVNnTVHg8541wFFxHf76iVpI68JWZmfYciMG9Fks4y2bYprgOXcCB80/YfF85lgOJbQ0RRS3BF+hX5MdhO0FchcOPbP/ofNP2D06HmwTRwRwDbRuOasHm+8DvHQfTqZY1s621Q+mkrWX8KZC5MLzK1geo8Pp6cwSmDXnOeWAaaaylkUS/ujSQR1pPLus8RZoWShc6JGcqHnp358ZRrOH3AP8AYYpvjnLn6DEUhSyyByK9WFsB82C3ycqYiePl/EToNtjjOvuwtP5th98snAlGu9VCIEzkYjAlnmTnHl+jFZVaWFgFlKzTeF1HdkxyEVE8om93sr62E3Z/6rb1IjOyVgF6owdPqmJT3Go0YAANa810Jgoc0VqS2v4JHytFjtVEFgZKXwDqItSompl+/2sUrA3ITUDpokakGLPN9bSaWlxn23oMoOPH/dQXc0HizwOWOmG7SHuzvdgkscE4nfIp7E+wGOqPgg6JONAb40nYaYqA6b8bavPHpBpcn1PHMeZaXMtNBhifvYeUdfe6DZlIc7rGq9F1F5HbY7/ZBbZfyX0VLfA+B9b8BZeK5Ordt0ypOwCsJEHyaEtLlCXFf2v0QoYhjhiOnp24gx2o7bmkr4yPDPi0aZLebxLr72vHRTI8IE060zArp/McOu7yk9jde7/HrgFQ6iXf1/q36uoN+Fe4fNTlbwowFFbXhgdIqDIdwZjnx17axdtFTBdP45/hbskn7H8L+Uug8rh/LuH8hLx8zNiTb9oEVwp1Y0UYbemJOrHVG5ZyDGk3pjK21yJ9DPvIdnk0SKcB2tQkHrM7J+RgkZB35JEDe0v7PAyWq16dHPrQmckiAsBhpyN+1N54+bkcb69xBtOaoWC4RYmWUlJI6kw1tls0drKDTIGqy7VgCa6wHyEnD5Zj9o5HENKHzA8uM4o4f1tNmj4XLgP9B6yImVxDES10J+DUlVFsT8Xg9r6zH4ZngBOs3hxqs5guDE53PcDnkAmnFnFUVmTzV/V0kqrYDkAV02znnaVn0tGZK79/MJOfvWLRWA1p8w6lpBxzYFXRV9a7ShRZ1OnVShwjFPXtilrJzogsH5U7mdgjgINkJJxXW+M/9xCDY8VnRY/ORCzD6/6AFLb4uzg5aI5KGZJSfnP4ApkXQXSOvOTptOujs+CJDxTooE7JkxJfiXqkUsTEJjchfVuQY9FOZ2Q3yY617mUqVKOg8zuT0w4YaEFaXdfE4/a1ISqOpje1bzNp3UbZVDj7ex28mVXeBmpFt1c+frL875mqO05kZRqfIDdhn3HNTvUyH8ONZqR9IE0iL+ID5g/H8zEtx+yeoi9EYKIFYjEoS/IPzgbtw0LGPJ9dhn6ORrYA0YDqR+o0sPFXXEXjcqhrBN7FvMfTgRlJckqQU4/fCGptaFdg0/cGPG42srURz57OJURgiTxK6waepIAyjljFhmwKmmSUITWbwzJeTqp7EIpCuawFKA6ZNXUggyMZBdG1vvdJnDLlAOYEbOFiVadnJiHZo68K7KWh05XAzJi8J0GBjPw9R0DHbEErgpVT/Nv3AWWLb9Odpt3SJcs4ZU4g7jkOQTF6a+AtlhYELWOlkH3VI6+R6T9+Si9lqINaMdth0VwQsn1zsCGRqycJdIY0JgYYhrXYIgVFNtdMJH08Bt60UTSZclEXzi6gk/JZ6GY12BZs6fdJ0546L6HZ/UfLuvjF+tyZPGXfahno7S0t5qqBHkqnsR5id0bVHF6vjjfKlhkaEIBExmPNNGtO0Pvc7tyz2kHr9q0WkMTgu2GMI0TxoUV430ZpkDOMnMXb0NAbXgUVQaCuXdjwubo2NEKQ7pY8TEHfBJobJdjejM8ith7f9gK6Vzl8HczBF/3YYDHmRPJRfuCaX7WIgDX5I6fXzQ2EFKM8Q0brT9YOsXkaE03NXx2Ro8AKC/qocC8CazJ0deIRIhyBVGkxSrhE2TmdzppnDeD6tDqE8tlehExG8FkYoLiTjUGAazmNphqYV7vr53A5PgceHGmjpHoizJW+LsFlTntsMYQZdHw6iUpg9J98VX7SGQslasbDh1X5iam8bpQWRlPlxu1asND7v7Et7sZ3wvcnFs0Qp+etGrqvLwTetpobPhOK45AQpQ1cSDCGobsop8W5tbHP9Xys19K/VoRLPsMqRHyXNu4ufPqfn5R3hHSSiHIk8vzGfZmZvFI//aGz2n245czU4PBQVXnhHSLW/dOyHBTrnpX4RI+fRX48Y4Cva6ddngrYJxt7u8tquZqN16n5tKXm2PW+JlLzCw5ODf4SfSkQuH82AtyQMd86OYQ+PO0tRWwrjwZLMVYKvSguKfxbV2sf8lxwcuKQW3xZHofPT9es81NyZrpkPJPsYJkXx25Qvs284bEHPhdGdIBulmB+UDAs0Limxo6Exz9ihSvCjGQ56Sf7VFu1c62R0MJCnjXzfyTy53ZqD/OH6+8HkQjyqWQ2prFqOXos8E1UVGLyoq8BgIW8XpP04KakbsISVKKjjAROgsfZc/bi4ydkgd70jffOMurTo9RjHNTg96xoNQeGgVkP7VrnV0/tGUDtUqJMCuZzCi5xUlSpQ2sfxiglDhuyJq0R8x+5xakkPQsyiWq3eitgZWIxI6+MzYGd0EHbBYbUWCj7Hv5zgFpUKwTE0bf/DN5aPFALjVrTatcGOxMZOvDkZ8lvxGjBffGw0ovgtnTSkfqR06i6PHANe11rO8s9SFJuv4b3OSijpQAaw5wTgbrC0erDeO0GDl1ruVlanSo66Va2XESYkv6YGnn56jHe9L+3R9+StR/MSU3BIMjnE0nP6LcsR/n1lm2PVKNPj71U+zxIrHYqmyS15TSdUzKMNYWP4TwWjRKlv7EWC8qn+uuD5jxNmffnIxMYrmv7rEecbdjnrvQtJyG1rtdboyVWYd5YxNyP+3cZqZ+tfJknmF/aenswhMYzJoweYe9fR2gTdwUxSk8tft0g3I044s8479bOsSx174n4zi8XFtouJJKlVaMvVY3sxz6WF1brD/SQBGvStERnEdRwtntP/+fl1QGXGTrIwPQ7AkCGaY/7wHS4gbWb2Rh533YI5n3uXlUVjUTnkArOpTidje4Wn3Cb2sUhq7cozfma3nVboYGiKNgzx7t/kz2Qq9T4ppQ+cMGYP2v94Wdsvwch5q8MhlelokruaIHzJ5RCu8o2JLKM+5TRCHhCxr2agxX4VGTdkUofXjpM9b0DeZdgtuLz+5G6g0mqwx9X2mYGXgCnwojqfH0cAoVBmOsmim/78gEOatJnxvwvKWQEDnFyadTkApXERG9141iAHed/ypAh6oFkokoDRiW5DCS5PS3UUj+qWx61o2e1VZKKt1cGWU5RVFMrS3cJCG58g4MNwsLh/Nd5oTzsAz4okrzP6qcPdJgQwsp+YZ7eGyqjJf3pEB+4bfp9FYTuqYHjPWiKOIIzUF//XPLu1+KYys0EW8ujUCz0U36UkrbbVCfNVZ7SNfCZGjE7IcvmTFEFj17jNI9wwTyVYeg3YY2wCzePxXY1w+iJO4zXJ5wprN7Ai0sQ5fyyZREoj4zDv6rW9PLGeNYkuxBeq6TqatTT7rRZA2EogHlN0erTQPVsthK2pQsB5H326go0O8SFjRhhEYqDqbZBcPkxhY36msgLts2M+H4I5xajPpq5M79O5JfhJfOiYZb6p06oytVCTqydz8i3PnrlhZyHgUKpH6fCNo5kbjJR2YfH3Jay7Ie3EEJDOSqEJ1mLkHlTXrP5ngQkP1PY+Fz+lKijxWGFZ5KYOyv6cBwIRAjU3XJltY7HODnG+494o+sqBdjFzo52r7+K46LmR/RR5zRgqdsWUkulvDZu9/Cgru0dlXVQQ3FuIOFs+u4PT/mGVjLteA4ekOyjZ01fZ8MPjDcMEEM2/pZ34p9w3bee6i50C+Nktu8nwsn6pbAEs4FJgkCMMkvgoJjHkH3lkRSzGvwy7ryUf19H6GEENAwD2lci6TG0TsyttMNghxTP7ACPHIP5RTTEbX1BNSrnvzB6CZ/6YovcwV1BOUrug7dGpvyzdb32KiMdCvdoysnsqE8nAl02Wf4n85RR4Id0586dlrh2OEtYUp72PYpcJdE6pVw8GRkNduE/2y7SZ9hl2a+YGVmBpXzyKnhartljynjnGiwZTbVrSmWfWuxmH90ZTgN4DX0m1rGv72Y2C4XGm6qDx6LyBWAseNwFOIH3MAZfdwvTAP2MU+ybs3xzjTZnsxtsaXlkti0MOkg+3ubFlFZGlZaMkA4Ev4DoWbgEGTKplotefOezkA5QOTVU1PmBDhbWStXx4Yg8jgBqcjEWSyYsWpV+q8oWE96tLPfElXMpSRRq8OmclIn0dz0hlMDuLTVpKFfDJK6sVy9PseCU0xYWjxBzBE/SW2SF7q/DWMxdOR9gBjx9imSjlwKVbe7Uz6foM2FbB+P3R+E4it546faoQinDngQK/KBDgQXwQtHZ10Vg2YAty62witKaCKaX1RzPYddvPTgM189Iur5h4pLht2rqDPwxuICg+D12nRSs0LQ/GZeeuF0bcfwAys07qleNbmHKH2iIFRfZ1545rKW6mOt6QBpGpENade5+zdVBAFdP761l/cWqJIChz9zBp/bxXhKcXtLUA2rshdG5pIflQthrFrk7zURJ0Cd20ceM6rdD7peZvP4eapgQwqx9lI2cS7DDNgLfUKof9/L1R1j08NtcQWZiZjH4XjVhURgn9f8rCKL9EYDbGXhqZvh78ZxLXhq7FT9jjCOHoG4wP2CRHZhMFq4PPySh/5RXaWuzn/PrKQL7gFNnKFXd5C1k2Ho70DkdcvO5JK7C9THpFj2cqD7Jv0a22etIdg5nCsCrtBfs5WD+WGhLjv9vBE+Q+4pxYjEymqEXdskB8BzJdlK38DZntnGD2alQ7SVlhgbAhGXlzKbbUsZP093eMbmd1SlWtfFopupNwHygqnPDT3+kNBLc9FjVDiySkuhaGacujRkTgTaJ9f3JPMqfxGysOsoOcbk1oQQPn2o7ykPlyevv4sswHr8Ub9eEnW3H76ozOn4ba9Q3075rjaWUUJxYJrFowlhJjikkQoYjbw61NVcOXdJyf6YmfNEp8IY5ywIiv5Fgp3R9LEBvl5rAq3OV+T4DE4zxRsoa+Hzpk6DIyEx7rhRxSKOxY75PR2WYa00wDdDMHfNHwQ/iAi+dGTDjWvPaC4m9W3+OI0gr2e2a0YbSAI5dVBxYiBQlWjggnfITeetkd+460qqoRJ6jy+pka+L3kS5+MyOy3BuvlmmwYqBzkvn4fTbUncpirV/yrsAh0TuQ9ubJRCj7610+mEHmdhzCbxLUMkhB91cdB09fxmVveSksriLjQ4sltP8XU3NCJx+G0elFIr/faJfTT8SFCfDp/i9ybXpaQXZvEBdtjGCS8FMqMDa9IBhvA+FwqIxs5OslCti4HehbKGT/lYDbUZNRP6Vqr8DkYfp5U71rZGFINMS0H7QgRVsslTC5pdWqYKejV5XCRt31HjDIwvVNDemTkjoD9ljCV1uDfnbZHpm6fP1FQZXQY7buOW4Fd3QVn6fDNwmMqzPe8WuDrpBe+QjkzqV7dz6EZQPyp5187V/0Q0mKHR5vKwXUWEmxbIsZ8bFZR8PhHKKo5ffz/FHBKk5IOL9Wbhzhh2q29fpZIx0tgia/8G+ZcJCK+heFruPVTHEXpEPj0Xv6qWuiyzsjabypyvQe3Fi2XSdHWyRUYDiJHWO3t8vN2XhmFGPhxZvE6gD/D00PvWG3gFYghXneRfDaTNLNcXHS/jWYec+b4gS340G0TLTPxqN4WvrO3YekmfGThoS8TYqSQInXkymvvf6yB8W1v0aDKDTuWkeW5a6tiLsBc6zVckCfDhnqwSthHAvTyClhfFI6w2mEmEe/MrTT6y3GC/U3yNAD+LZkiV0bjbb1gc+GqIWcHc2q2C/iszLym6T5RxseCjGmBwnCCrJxd+hzexh6PfGw80sFRj/2bk6tJreHNYUax/HXMJ39lfPppHNfnBSXpDIIJ1SnidRAIzT19EeILbbirG0dlgVtRCXa+JVfS8LT3IUYYpkZEwVyZYbITY/Be5hPfQKDygKaXHAHAYTqh9m2gVHeP5QbKXw6sPGZAuKeOcS2G9JVocz9MnCXq/ujpidYH7ptcX5jekpAL+ju8n8thjVC4mSIJyp9tyGwIGtFAwl8BT3R4cRJ7GLQBLIgQs3FlHAe7UylMm4b34rENgSLYgvG91rPeacNKObKKML7d1Ig2ykGaOX6ukUC3zEKyu22YKmIQITOd7O+XWgZ35A9hA/YJcsLWrI5wsVPWoqWj3h7muSQ6OQVhdj5ffgcPPEWf+DOg0wfuoDsMDWA1K7vuAh6dM2fXkkzQBvuxhKz4RLRJMF7YQT1tVHmFldjk3JhBD8kwh8q82KrU/1RiUUTz+pM2vNlitT8vKtm1VEVIpha9aJ2yXxyf0dKK333xAJV6nu5X0IoMTy2KrEKhIyVFD9Up0Rrq7J9W5ffCrAwKHFoC6aiVV5mIgDBqXViLr+WJKBfDDOhHBeUso9lC7kfhTnP96aasE2DvnRgAGBXZnqYud7Y0aV59cmS1j+ZxvNKeaucLbzMSUtn553u7z6TTAzLVmdrjc+NZ7beYKz+9BpZ+cq9fALOmLkrHMFdW06dKfoJAatVRVEOLG6oQ8PiZduNkwYfd5Y3dc6tg813rnZwELjBx1R8np7JhAzBgu6X59+eneISbcnFoxR6ZNCXckHNNThf1gzzgxws+zc9FfBcUVeifJ8WX9hRyHNGNSj1g51V+Qd4cXQoQe8thApwss0XU5cdcccXvrklFSCvS3k0QH8jEAGTYgZoLQ/fTrbnXsTi+W/eeyJF0C6CyPQoAudku3rT/e98ugGK9d0Bd/KU0r0NErpESPnjgWHc4tv+75vg6brVC5Bs088I8IT044J/D/81wXBfQ/WVuDpWGt+3aSxGVktJhnwviTF6tAKBvsTZwnw5RNoKD6QEwyPETSYafCsRf0zBnn8vCWPJe7qn+o8xdCYJbDoRNfTfhhcd05nWTJTahNt+yvtiqWLK+0xwbYL+MOfAAG7Hb50wFtCPhBrnwiYwQQNqfckTTXjeLB8thEVfQk2toZTGHe98QfroVqOGWb0aydua/K+IjpHlvE6o6Ej3tCfO7B7YaIKA79+dd75uioQVkR4gxBTGb2lPESeEQJHfhYGPVEmPfFIqxKJUYWeofXCBNR4BukVqrupoPnU8jnu8Hv3VO6aAUbfzMaeMcW+M/7DNYa1aGNHFpzlRk8GTO5Wtysc90/Mr9Itt9Z8d8vtyMsYK6X5oOe0cmU0RBhFmE+1MePOZMYw16lSlyesjePzgzHa514+ztxt1GFiyTCjQTf6wWhOavT4Cul+sJJVC5yYf1UnsFytQGZrc6pzcExL4WvcQbGiBn+FiAJ7DXiFPTL9rEV4uCzKNV1XZ/aN/csLbACPVrLC3cW53zm+wV52P6ci+QchswoLVUEU/qDTw/0CSqbmNL9s6P0rDItHqQP4WbpX7xHSHPC2eGauAMFC+1t6Hk264JINI8CHgKkoomIliapbV2fOd0dqViZevqbvv0Lo4lY3IDsdVm2WdcR6mW0wgeb3kXAOkzZ+5lF9gLYU+JKVMHiaFMUqyp2MILV6JDINsLR+k+OnxFcmtEJ0o5Z/mjgguq/tny7alu7uP/PFVe6hR2HcUIrmlWQnYKKk62e6cj8WWFKqXuNWYb4eGz8H3NTDF3vRCdoPQge4OdVZoYSchs0SBJJ7XF6nvRrlIarmRumVkXoF2IzhJpIZwgfZcJWBO7BH1ZfBCspXwU7SFvyUxmfPVHipuWvxUdQLGPi3mKQ7jqH0lkOBQGx1lb3OEej2fA84wErs9ShpeIxQB3zyk2KElw5kZbj9WD3mM0Qy+ggKmbg8fyCN825IB/wmvMi5wYG9TtppXGVaCh/DMESqij9Tf0+5BW01PcQ62Srjv8WjfIFPtwtiaucRatM7b814XYxLxytKcKwPhMoV3erdT72xci0Xi+r59D53bUGaPvX8ZaZ5N/ufFe/vShny6JwBDTi0tXydVK2NeXCs2DwJVUVjF9IHAuJLpxWqoifc+8NgL+h2wqMBOI9ERbwFl88XtV3BWwMERAs6GozY9yLN3agPwoeFn6GChH86StsrCDvpiqJ4k7uaLuA4z4q/3BwGWnYtDQZMWf0rFQrCOaKyRnSKUXfwZVyKlomhkZU4TiJnqfe8DEcigHyEDzIlj0il11wSMWUMBqEGJCcPM9DEhr4QPWEc0IJEAdp4Nxyz/8ehm2cJTIKb7K6d02EOUiuvQqYhBWn0yA8rFOMlaZBgjcydoiFfN1bAaczIRTcBevueg7zUaWZpFylHeMpiQ9E1STqU7lCdrEB1QwCJUnhwgfqgu5Rdcwv3Z/4A++Se9J6GCML0NrJp3/zFqQEG/ahsL4IWIyaX2K2Scw5kPh5C9RNrCub+v7Prm4uS1rEVswQbN4vnrLicG99uDQyLCjmzyPwZcClfxw++NM0vAz3hUFjVVBytldtT5aGigA19/Uf5R2HrsbQOQuyDO1/zYq8MnUcDwNXDgXs7FxQLFgwoy0EaQpHz9b8PrUDfONBBE7d/WbBjuKjHAGGpCUomnIV1NxRTpqA32/UU8b3jYk6dL2/eQ4KpxRtYHTxOmiGsegBVRUskr9NAhgores0rh/ubKkdKy+rzEH9rKpNvsD9Iy/5J4SlWLjoek9jSW7icQWdv5ulnZQFKBQvoNqbC9A/ibDbf10okiRKDFdERMWEyXptdBCCSj/4Mi+J7tQh8LWtXbAx2ZIsTwXehy+CychubqvHyIYD3igVDuuF8oiHpKLQY9WW+HwGcNiqPD0Dz0KPg89c7AdYhwykel0BE9AZ+2Mj3OoudWdAeOmc65h17sBMvSINueeEacMYKFlibZ5QJVhYulZ8tSywvPKxOS97kFsgxC7mO+DnJqQqwN3mIacQZYpsB/3fdIT0fSArfhXNvQ+SHxD4JVObn6QXNXUpnS5iVhD4YDfDMRDfGooy5xtnpDHL4bdlw/j1XRKKZIz+yAokFCMSkIebed0Hzt/lwOe+9GbtLE7Fbn9nRWfLIQORvK9eqFifU4lhlSJ67sLroUHQj2HNEU+TfNgMu2x5nqeo+LXR/VN7v3n1X+CZGDMlP/0aoYEcdg8WdoY4IYedZgGkWlL4M6AtGjOWdqHNpeTorKvfCUPK7vdDm6ep7qCIG3LtvISXESOnAdP9yPmvQ0Fn+62smpEkUDnSSgzHG6G9bxgjRuf7ZXxwT8G5H9egk2Gix9PrujzqiA5nj3+6dBVA6xScVMoN1TFSgJZ8z6CUz7ST+QcmLDqGAnBulShTSQ/lAFle3HiWt1BsVygSUgoLfUEMw76bsUXpyHGnbnF+Rme1s+0WUyC7efJwWguZHi/pSc5pP0CMsA4oNKCwSNRAd+WfPsdRri/isU+u2YbGE7IX2RvWlddkrQRR/tlRJlDoWOzQWIKtxs9p0+TDzYNNrWr/FIqE//ocqbCfNNGFvesDgUxb2jQD/PMs3jWEJF5kqEE9mDLTKWL+ZzULlgrwKJu+/EwQu3tVuBwj74l95MUJjLuAQJTKlB2BPntV/Lod1aHH8UcZ0qVemy1FJxvWsjBYrY9pRjk1HeTtSK7AqCU3ZA3f9vNzd01YoqXcuWy247EgWcE0z60PNu3fFzQVGrxP7DJefsxpU3xgQ0RmCh0ZQo8vJJhdPJt2HWesu1cVlxdf3qGdo/9qtUah08Hostv9MqgKejuJx/bfJjL/sLQvX9dYFZioOAZlL14NPwf2PP6qnaUs+fNcr5DvQuEIger4WHYNK6SgUdo66vc1KmYvY21b+xhH30CugAfr49rQ/LBZ8MG5MAsJxQXJ65rtd7IpSzkoKf6QCCVjRrlCEyWj7gCoAvawbtfaCCvyw25xCCooiRKrWTe+rhuNNsAJKYrjUSqSbLhA56kY+k1mG6pZaffv1QfnAKNwkRY5rpupI/K5FqPhMjQkyGchQrrgUWIW1NMRHuw9KxU0zdsx2vhbzlnuUfx7xEIT717kcLBJLHWwQ7D7f4SBj9+E7QaITs48XrBIHpXaNrf+lAXOlI3dI16/fdku19DC5vxQq7+b6WKjOKu0gmM+oBC4HGT9pCymusYtX0qHf5MwLhRSVbO2NCTJsOgeyJr8Mw2bIfKz3wwDiOLKGtlx5fJ5LM4+kEicI3WB4xYgpweE4sZ9ShFEvUYzJfD9nVosu4e1lLSMSsRMI0vEXclG/cK34zn3uQ8pIEJ5EPVYMx3v7PmbyIb5/IIPFZHgFa2jqlXBGP7ndbF/jEyXWFDh0xwzUskQakbhE6Gh+hg2s5+Lkh/t9m+T3cbcrxUuNOqrn4nE/muN9R82Cf2fog/igrjI/k9ZfTlmRG4Nxwq+rdLobhgxBcpYOUMiCtnjp/zBmEF+GsV55+t+NsuhnxOgGgaIdMtI/QMjknC9rrjV5Ow/CzrI3X7ka2blXXkJphMLda+CklfKiVUq05UzdGgf+nWtOL7w4yv8AozXMNsjjD+Jcow7CGNbzNGqKSc+HjEzNecPJzP+UsTFZPgEa/jiCz57oR2trW7QQ6jZwCrbWV7XTgZjg+armQUMUlNJgLunizhrMhTAf5kMX5+p4jjt4DLegFef/BKtEAL+O+5QNwO61bMkuxoIct7+oZU1oYHkA03SxWnUk3Xi6hzY8ndWLlPpd3fL8GTmuAjg/eLG6lOQmsAyjZESZGPHmcr0tsQMwdYz2m0gRiE0uM1wKcAZz14YPfCtA+rGcsEOmHt/HQyMSFJvwzNEVLSn49bZJSNEkYvA4KzU3l9MEo9c2OWGRdPpL3C5/pNJNH7qRdD7/IXqiDWsB0YKF1prVvcaGOr2xx1jQNUG9ijhV/P9MnGxJz1OAmJLrKnSLcorQbl1UwvF/5rnwuDFygRmgPotyy0TbfR+nMEXhIYnGzcz82O9uFVn+8RhUEDgOxKQcI1N8ontnKSgPCkArWPvwFE5oiq6orRxhBgcvjIHHPgsZCID8kyh10RTNtpwQhouQGV1/vv5bWWm8obYJwrERCYuVqNl7uxIFw5DGNqY2sXL8V5TFQ7Yh2IT6epuUM9l7jHxFO1sN7xHc0LAV6vrdezPTO+zO0m+TG1tk07qC5g7Zl9ZM+AQfXZLkW617MRtpKboN3i/bTmaAqlX5uctdDuodyEphuhINNPB/QXUBibHUq0tdgWMUl35aLnzQKDBCjR56XiwZZx/wPxQF3+TdIBfTJdHTp4uWEwMIs4qjGAoi+845oqmMmJefr8Q/KF8tm9K5bpdZZ4FVv3wOi77EnM28UJhcCm8ZWBF8raTCIOum6ecrxL/S2OStmMAMmHywqgm7W+/PN5RXy0/bP0IHUnVuKqKy41f9hTjKWH4Azop6M7rNYNpNxywMvZCLowxqr4wMkLpb9bxbaTrlvEjt+29YYOlTGITOWJS8HbK032EcjKDk/ju3cQ3GG2e22rIxKaSSiCft0OFrvM+X8a7tkx0WVB2aqL6twPXczNglzC79aSZ9GbFGixyjTu3y74rCEUQp0ef881QxzNH3kOkupwQTYcGGYL/twVXhcP8bwnJsuNeUCVP7YMPegg3F9e97bknqMOiD7hA/n7fB0tAAtNAheGiSgBb4oXKXTDRymgTUc4riL+Fd5WUIO7Xrdih3WElELbGUTNmLr/Luy+tEg6AQIRZYIoWFmnMmVtWe4y2LKvzq5QxfnM5IcyJLDHNrlJ67uWVfZ4eWe9EcitZJcAhb8qgyetsbDSJnro1pBa3rh9ecPL2d5EMsXOKxtv3g+K/xciqlFSCXyXslRpUqiz2yO/qCeM2W6W3MDNnTZ5ErVJgZ8bJkk3rqpdLJmSfRPXqEXI1ytgX9JL0Ei2ajXyzzNboiPLRfoCNwDNhsZSa5EX5UuHWCn2o8jObFEeBAfJ/uKK0VSnd2KV7m9JKM7ll1TVYVZ7fSZQJgV34lcOTMCXbNf6RY3JD6pCJ3folWVRy67mHWYe+A5kEgIoW4nuINQP+/tAItlS8VKsW9/WS+R4qsN3IPO38C4cQWKs/2VCY6xnn2qvbBx6kcDNWDGeozuFjkFCZkQGCI5LX/OdlJ85hA6rbHfmDNBld4f2hX5EqGDwKcMCzy8Wzcq5bfiLFJEMTFhZFcmocb5G7trRFWCzXZXWsNyyPASFtZ/pCX0lL2ZRSNI7whe9xNO4sWbUncieSCX+yGmaY2AMYsGz8gdZivo4OGElqeY2Hejpqnkb/xQSKaMZIx+qK4A/8qh06jVXyvSUrFheplF/WiIsFsr1mW964YwleQTx9CCx0lRNw76zcG5GhWATQlMPNhKmC8w2yXv0z875tc1aBfZQoHr6TSxx6Zn6A4onje12AllXnIgqbSg6d8kVJ6HdMGWmuwmU/BQr92+yefmiOCLnTgp0mCAJYOvWnwMNJRneRS7pHor31ILIkNV8xwF1vn6wQsEj6cmOx/TWI4SI7PeKkGaWiGULPC+mXcA0dMjRq6YIE3Z4CHi5Pe1dTA76pW67evTKrCbuMW/KCOoqmfNaVRhqnVowHZxst6AVVHPm7aORJK7U1G0qJ9urjtt1Z9c+k8+IeeBoehgH/VTMuqj6LflzKWy61Gl8TJ2CS8OoWcH/VvRjo1GnqG0CSqRDnlDd72zAAlr+PUWSD2VTE9ezQXg7KcTPBvfY+PYi9Ic/Acl8JVTj1yKN4jeb2AGgJ6JOj1+e/gKEiPiVaHX6wIPhPWijfDTPetyhGAPMlAlJ8cMaqF/r78fu55tCH36olm5nBI0O71WGJLhfIC+9qSjHCCfPPRKcCpbmK3eqyZ9R+Y+hEAH6Iiotj4VEIFIGsEsa6RNX3jxR0nrm/lzuOoTL/SsyW7ENaCIoHWx1Q5w481Hk7q0gdzRTRixd5ULzarrF8tBarSaAA529zAJye/z5cp9yWZf8n73t/H6VvWybsuRiNppUP4RPJNXIBbscO8i/7xjIrMId8xkdGYkzPxSbuJNl7HipRxv2QuJExoU/l/JtCZSQ+fyEeY0SNmi3cXVuGXpS+TbHVn+rc+dDUGyNMxoOnvxBtMyD6C/o5hpyfj+y61ETHBjl0Tjt78lZpmniIUK50zJvijPJM0dDTF6B6/xZMfLgX5lvljirfamCSgUFo2wgI+JBz+I9pUY41lAmHgU1GLZbnBunS8tOslzQWXvdKkP0xGNjP1zuviBgFeIVm1laFoIEtAUyoaJg8s7d5c+//Lh4QwYcPrQU3/hQLP8RmqJWLkB6uyQkiosyTAFA9NQd/T2ZPDKWPtpO7LcoQuF+s4TEHXdSkvjmN+NCxX+eKL/dEsaJbfWpdq80TRiS8nBRGEsgsQspJH2FAjN+1JA0vQZzht00WZuPzvsu6S0S8wGiLknYatQypX910gpdd8w7o/wLWNr6sFJn6cBNFxDdUuijsCga66atwxewKJokOuYLkwEx/eAlQsQYSi8Mib2Et6bZ9fzfyvt+VoQTx7BgLLg+iCrQ05eBv7c4lgEKBHam0RgEwYxftpXP2+SEWF705s3ig+6usWwi/XXUzwxKqtD/zcj5VYK/NFWUxwIySJ/MJlyts0ZCb58OE6rxW6j52KbQisCYIvZTMzpXfwL7BvaeCO8QGGl8dirqY7i0OOiDYDS0ggFPirh6Ox0sLBW8qq5+DQVUp0Kxq3Vz6l4Nfb5z+hrzrcWhyfDgzdDFKInicxLbC1TlLlSYSbDUwIVU3asI0DbxLwIEkrorz4tBO5gva7DpyabAFGwXHA66aS89izu5kx8garfC36GCfr+uWytJqGxj3MAho3X3qI724bjKFAKQ6zhtqr89MfvzlIsQUuUO6rDjTy5XtK+GbU6Xed92g32WaJWSAHYe3bXAkEAZQ533DFm0y9XRz6xLz3bFsSliTadMigc+2oUaD1zgJe6FB3ww3FyQL3ypxInV/7QaSfCTPYcYhCBEKrA8LH80joREU0CgTxygWxcE5uvZBDRCjmyLglbUxV/vtLFuGsnCq6XO77uJ06W/ghUXKvhXN5p7McPeZu6bsMIcLNKohZ3mo8OhSqpiiOcJ261kczCzEic9jdPUowQ0cc4vU8uIRnFJuD/HOZuSCpmqgQsd2rU3UV03+0L1zs3DIn7uQrLV9iRSCoki/lwV440fg2ZaJQzNFvF+1z2d+LovpxHGaDulyf3wtLwNK5SFWbA2oYBZr6PLDgn2nxcnVqU6w+32wowopJ6N6wMGYfOLhrrdSkcF6j9XXgNn2mu/cFZyqhU3Yw5evJ+62iHCaYd4KHVo40l3wJcB7qvWvwfyn/Fg4YiRm3fv3X0oXLrIDC0ZnLbtOibAfi+h+W8n33+N7iblc9pyzatZAA5mAfXJJPv1kNqNqJSusD1yzyHl6tcpL+gBTVda0mwJzRyrJZqZsDu1px8ZTjkM10v7ryXg02++w83WTyymc2FcCxcUSuXikjaiauC7IKvjQxHol0v4rz+LyTVfSW+3eJ+ThEd9WNCumU9ABJPisb/O6qeH2ufiwMCDYAw1MsNM0BRDq9jp+hP3pRe6qBuL1XS5KvUJxlIvyMr8i9FzQM1YQqCh20c8V2Ez8i17D35IcVfaRg7VxdVBimYccyKuzVkZVripzjZFdt8M6KKMuPbZW+ktns/QedbbSpS/vGBCefmzm20OkTl6s2XLvNVnhZ4K2jN9mBTVckMKLWNzKDZSysLtpbT4NPEXDf8VbDtznhrnT2Uw6Qv3uVhxoN0f6bzq/RcEdwnna75x6YPqw7XK8sttPxtqLWIQX10s7D97vVK+tJtzWXwuTpXi/SANnlU4rbrwIIy6AZVYhtSJ5PQ/Rs74nn1sO+r/KOUuvPyXd+k/z6LBf7uGAIQmcb2lcXdJDOzFuWev3dQg4lK3TxOuuqovfd+Z7hqVOl4Qo+9wX/XJtnPkmv4Vj2U4Rx/P6WbgG59LyRvXJurCQvGrnFU/hEXAVcBYJpSY6GPxznXWHUuXRz2o92joxbt57tx9crAgUcWX2jfamuggvmJ6mVJPU22KslM5sCIrNAlKgdLVCd8GrE+yZQO7HChxt6emx9VSXJegWCv2E9GJ+ffAXf3SK+SaBwXmImM1u7OJ/8twPBYV6Y7i1wu06UuBiy1+RGbThpf4J8MCWdHIPVw2egHGOZtYot13GEmV5tPa3xsRFmPEGsro9uiXLcYx2T2A+O9tjR/C4N6oLiyukBwN3c7JqMFT+lnZqOGUZPV3S66IGgs6I8WwtVXMhnbhxQ/VR/Kc7ZKG4IdSzhGhjWVha8UQpasoOW1IcK7KL+YVCjuGsrvrIkhmZ2P0LmyqM9rZBpm3evClht1gtFSN+RV32N27IGasppEF6UbLV6MteMIMXYs14OpuLP5QdQWPSFbuOGQfyVFHwnKJIaACBOvyFknR8BakkpnhpO7LKhlqheZgnS7q6WxHxrj0rNFbPZUFLsnk5D/UQOBIkWtQsszMNG5JVUm5N1DRikqUt2H8LnJMvOs1Tb7YsGKy4o8BxOT1o0+PhT8ZXKHyW8HmCDtDnwVh1oTZGUanBFH36CFCWfgeqxKocEGqqog1U96uniP6pFTyn/92CR0N89ujy+sT31QRlnd8kLaHn8VB0M8/W/yY2eQAKjMMDeNAWzjgns7r6r1siJb3STySdHea7sgRK/RoGwQ3vV+k+l1Oum9JuqPr+RVuzp+/Y4hRy0DFwcx5+65+M+j+7+S0qxwqOKDyK1sMWHWDYjkbbpLYuV6to5xyZwGsJS0LoMGx+wJRnfFXYmGAemRD5goxwrbTCcr7UTDoqVU9a5KGcisEcl5gQ0MYpFVKhlsgTkINvqV4jr+3y8FMTRCxnQneTEr8FoyMiQjLxGc/S3/3Ue8a99oz1ac4tqvroKlF3/Ah4xy1IK6B9PlkLhTsWrv7Q51kVR9sgV4Rrd1QW9L3zdP0AEHV90n3WIalcHesBH3JqUW8aHQqHRVeOOe9FYKzLmKnUBwcqeQdiEfdTEjkYAkPhSlg2XtIWpzlXFTsSulUTyc+CESszO7cUQJ/n3ATt2PvGo75gmAG9iFPvK1LKe4kGj5PPZPuBqYPvuKheERxpFaHCQhrQvl0+XPUTom06FUTbcWHpBBLdJdUEb/QxVV75DLzgpd1KSLhK2ND3cNExYocb0yS86Z+5RVWWGnS3xbHm/iCJ7JkIRhOV1fOgM8FiJZ7LGCIgbXBtk1lNqIFrnzVF//wQ0aR5NxoyOjIqxT8qj4V+fk81wCVqeM+6NeJD/ILPMWiAys4CwxX5rK8E77MsgbZCdnolfqaXBcA7fejsfugFHzKM7QPWTNCNkrZWBxFXFJFDKhHywp8CJ4ueqPPo1Ik4QzB4obASrz7ypVT+TkT5VAhIDdwdQxryAaOXjygntdtJW12fjbShg2VRsc74EbklBd52xRWtIMZoSCaLLvm9GtNfh3fsPAPTIOglhhadOUfhy9AyrS/V2+FfA4RBNlyowETf9hD7+M4ynN/vyYgPUGKjJOJeLHd+QWxvYpoImxdJcLYhAExLIw7DBolPZmzOTwFMP6bmbSnSDHMfr0uSrCLkljDuukt3USrIQCazqSPVOyHdM/VwLjn+1OxmFMMejcZMlbkHMRG27EO3FNZvAQQFNE7xMZ65Zk0bccqSPxKIuIhhePIGw9ohrqJO8C9gn9YZ/sZx5TixNg3BjK1vhL0u9ZOz4FQquslM5vDSImklazyCYEZgsdbeLWRJKKH8ST+1s7rUytZtA+kcQXZcBCTLw8WqvAEBnKp01OIClF7xOxKiYh2RRTH5YFDyB/TBqlbLbxmXQ2NkZYTmG6Wumbw/ukOAOt3tozz8VJMfF2IPG+ovTw1Outp/NRsJBKij//N8qumaA/DgpiqEmOZ2Dh5OtfA3U+HCQIxyyoX61fDe48OBZRfsMd/gw11Wi7Iu/po+iYMQ5ok/ffXgW7pNRxKirrZfI+9D0YvhZMKk22hYc199Eyjjvd8Gto2ukuZ0ODTJLWhTarLF84beMoI1X9aeXsv6T6OI6ydPoL1WR9VvPFr+t1UUeZAVb7BUKUGXu8c+uFgUbcS3roD6Nho1B3kSIJrU3F+cJdktePrBlBjeEnk6iC1WHQmcZ8JC4cOk2gR+GPb+zgkAgtWzNNN5Rf3y+LNaGVAfqJQZyn8VTBBkyWvXI/48ID0uGvEh7/jT9aNC3N6gVIuTDKA7zIISWghDACFsAv1yWz71FAqdCV7gTuy2qwoUNPO2oLSp7sHJOAtGTV+9w21SA2HX0CiZawMhsZ6ZuxkmntW8EM6iuGhpXdxjxtdhWM0u8YjLWXXVMxk6gnmngv9mkuV8YzdHXYxLo6cy+PbpnRg9F66DN6Lyzr34o3Xo+9WqQTjgZxRIXli6oSU8CUrbK9fTD7J5JHV7s4jMI9lfdMmbiiNq8j/T3V3nABM7OoJOmy4na15ikwy0BC5aWndG3uOa2aBzcjlyVRuvz0EdzjVOP64rsngYc7mbid2qpOekHwS0P21RQO/hQZXBdTrr0uK3p+1U1rAp7OxgxkTPAEcgnHbZsdI+9flf9WNvwJ7jbDZpsALixoO4gcVI1Wycq/6O2ZtrSgeQlZNz2pNGSYPOyQLrN17N8/21n+p2CEQe4i/wuGUo4IOygLe1tSYdZF6hUwSN1KFfaFFbJV/FKln+WU/BY85Xjd984tp5CghmL53DlaeLuLzSJ8Gywsrg9KCnbmU5TDAk77uty3C4oYlvq6nyccvySoU8+ZNA+fYjuismlyFQ4bEhuhdRp1E0naSuoSlzp2r3Xt5LjI4+geDnyqn0A2cLCV5gq5av+N0t1y9vsJmGEboiDcqXuXjjvwC/eih+AnPCP5Upt9GoxSKYb9OismJdnjq9Udz/6eJafvo237/1N62gu4kAx2gYVnIP6VPWFVRYKaG2dwEQFEwY27pDlY5+rhKisCKP78ktO35kVkKb4kOcrKEppmW7ZEOdYacgWhs5d2N5bdeGWHoi7ApXZmusNDn+MEStRaZr2q4swg0gqSUgSmX6KCiH4Fu6Absk0m/xsBfLA28NLrSRk/FKwbU/JNFsjaGK0lrOfz5f0NHfntubjrry16w5A9z457y6eP/6JZKegipqLJlB/DneO5ZgNBe5u2LjbtrJTtLDNVSdu0mXVy3zmqRv7mmw4rUkShOas26If63q9xvs+XNBnko1zFnsWSBkc4/D2NkKz/0+8ib7Qc6Fh/LULe4uQ+aVoQxnEP8HG7oN7pmWmnuHOcTLI5zZUJDOBxnytkubtPVYAfZ7qkjejrjHxAb3buZ86JyGKOxKQRnvBeT0umwdujLUwQ/x4nZ4DJLB8tx0z5k9cNrsVnRGjIE9uZFUyWSPqbm55Jcl1/auao561zXLs4Wi0onlT0habnoAVQ9xM34/eys0xcUzt9oMcE4NeEDofetHJht7+BfjFlZVO+PRjDg0u2RAhguBWonMQO9GPdhrI2LqjtiH4FSZkaA1hIqXherj9YNnrkAsINyEwCNS0fOV72gqT8Z4hsbkiWdV0Di/zlsDxmVczlrbMO3Kd85puBXX3qRSPDmaXUjXvcRvlw2JdDU4JGQ0elf16dJ9IiaghB25LbPRlZupZe7I8AZZXvXYKXiaySa4TQOvfZGO29xX4FaG5pxoe6jUlK2veiKbh/bovNmOHAIjwK2QMEHcmwXedKyWXkBFII0dGQth7zmwYC1PKA5ilhtKPNzJBhcuerecSfKqj3EvAWP9xwSjjz0SGfzH1WIvVYwjbBi3itow0LUYnU54KPMsgxAsETFurkHcCMGZpDIMR8YR+uAzpZIzazCi2IMsu4C9CUvdFSg+Ne1SDT2Ntm3JwOv+5sKVannhQal+kPt6M4TXugAXTvnGKgz/mNPkUkD1d6eHveU8hmlgSAu9fEM1trMkNc3YVFc5xT2lQ1mCm+V4cAElA6OXOgzZV1V9/laFkaT3DSRj4ng1SvRPkLu386jZq5Tr2bEba/Z3pywHGssYJ8IQTKmgXcD0ka59Gp8XIKm9NwHYXAkkzfltZ/WPSbwGV/jwiMsNTT+eXswV90G1WSl+aJR7AKFIYTIA4q/RuL1L1hoFN7KVLhmlNUWT3adkCgEFwtn04ewSSzCS+uFTTJI5amReDgYQx63qCfEaFpL6N49tXw9Q2ni6gNUdnDp0zMu/ooOBvSknMpr0dg70b+RAFi5f8iLF39h4HZ3WccIwbyJJn6tqFIxcBfMA6RRK1DjcWrR3rLJlUZBMaJPf6idiQVGhBJ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fuOxJrE0u8qWCvry6b4oSWzxwBNDx5TwdJdvTyHNfW52hzsAgWp3kiTm7LF9ON+R0NYgtX2fXMxCF+7tDgqiWIWP74b3GqCmGibxqhEoVS0oo4hE/HDXYv7uOVuW6PtiSpgiCsaftCNQIypdBosgUPPXtLVxRNNruzWRr22JuOt+oy8QTsR626cY16brU6YTzy2SNy22DdDd3fIryAdMFQCVeML+Rw1nP78zsFt+SxnDGuTSf2rAd88pKPbfLx3QiNZPd42z4q28slYWkyZfRw/y5Kkgr8/74NL5B6vK/j8EwWYne+8DkZfvi25PVq+cfnd98HAgfefO7HmspUOqjTlw6x/2iVF/OS3MX0W+fa6egWJPUaMTzFZOgn7B/LtSvaORqOr7NG/ikjYf7HlosIjppFBpOnz1teK8XoqXHAEJsLXRhCjDozgA3AO2Ijbu66k0DLNQ6pAPAr5eMLtzDyvz4tG9m1YVQkIu97oaV7zt+gjmkVkKh2TEGYvH3j9Y2Bi3QKwc59ulOn+VQ2L2gh1RlrRU+7teMdkg60lMyRuAY9H1suedJ0e+uq6JVZiz5SgP6/14NzUASCxkRb8v5WLiCrP86YoqLTt0v4JXoB5I1qTHyuDTRnkNShNKuyep/GI7MplP6v1nqdMqS8mFdjsKcSu+vpX7cX0lqu8GPFIG+c6YTew1MO9AYbbLMpuMefwKEDCvQCAO8TLHi5NzqhEDQr2b+BlvNKhc4YteTZJ+5dYBxPkcW4aDz+pWJoZYXR2thMs+U5O04B1vnV3Sj4l64elxDolUDXOcH3sFTlWTOkTyTvzGNsnK7R6aeqR05YmpbefLGWyGN/C+EvZHMPIn2JaVgmEkycdi1cEKrPSRCrpWKPcuw0H8Y3D+sNjD3kiaDSRfsWkawbesXwm9jxQr6VBMoQcZr5QRXjX+fHEXk3rCKVqXUYQbGq0K+EkSutfbgERvAGkJ+5DyoufeyivVY8IBJzeH979q1dNGK903PFPgkDWQtWrW52aRJzXeW57fAvCcwhZJFsPk8xYofxIAiSpb/CfX4k1YYQu0UIzX1rj+WZeRD70pUzczV4UCKY1msNC3N7YcwFRKBfdTFiqO8Z4xiI0hBLtVK+Lyr8m2KKyBGQJdBDeetaKgY5oPU6jAIiIXcUZkfjyxCtHhuiG7epdVXK6xaRGHrl8VvwKC+UACNllmvRYsF6mt4piI7HoUq+tUEiPmbsWiL2T0/UlNyxPu8iNs5rY4Cy2bIRUBpKIkFSub9BBZisjV1odJs6YB5u/CfDtpQiGCGMXNV5ol5BGpu+Zbq2bOxPsaeSxw6BnWozXv+ACjIOjya6tiM0xM6ORVrt4WQmdMWXUK/OLGdW7aFOaQiUlgjXGdd5f4Tv+1sSzgC1V16XGTgR35x4r/jUx9hJn1Z3EHyjI4Bt6x49c0dtGVhS6iAoY6NhbT0ouO73cqQs7xCQAzKeyEmbrnMCm7x+3h0O+ycBHBAyBNrBHBJU/dsHFAHJiMCgRI703O9J+mJNkSiJQY0iX4M9pZ8CdVki8U85/Pc77s668PrwukFGAjaEA6eHnHnqM3b8h/MHlPGDoC/AL/JGLDQcJTcHuRopVgDjpjRMD3mk5zN09qCvT0+Xbx3UNi1VxhshhI7dDkVOXNHdDZRDrKmK4AB5XtjwAzLo1MI+1QfPipIVJHYRUqargY7Ub8W8pj//HkL9f+xDKiQctoDKoNdss5SmUZLFXn9K67/TcDRzTCtqF7o9ij+ZHDv7iZJZQ9iGuGKCbzQJEER5uyiEzqbTVb/3HoKiVMZAmW5bK83PYb/LpoXj3Puagkl4alUXOFJFUjpEwpB8kE+WA0BDVRhRNUJbFYH8magd0anViCjJv99kcw9He+XGwP4HxeNs3xR+DXndrgHAy7RsAXoJ1p1POu/hpbEw7w9MTPYtNQY0992QH2J0EKK7SuCkAXYMnStun3fdMUutllne7bwW9FHiJwTrpHeYvoODoq3nI8pk6VU5iWa2xaSvqxPnhMQaXT6buV/v3BF3NxnpKWYTZc9DMiwUmcGNc3aGjQgimzxRKt7jLW3oWQ7D/OviK4JToY+dYw5rZfLJEE2/VuHmZxzPmmX8IpN/GLB7hu8fN9MBTZ23tPT9Gfo+Km+S8yWWSkzxU46qY9hztHma9XUSFfjDHkBM8m1Mx7inc2jpNYvmybbxL9XpPSdCFyQ+/VEUWB2mQeW7zNxdWJ+Q6m9Y/w0F8GtwC9WNDIoaBYQ7asIi95oonBE/0K/3jJ1y8JqChQI7K7RHdPr2sZZHi79jKjGwUkeRGIzfYHDBhDAH8KyDc37CudWlob8vZvd3dBc4DPxt9V2zdQKm3KNpQD1ttEslyKFYKOJFcXvJj/lv9ABSRB06fPWpMIBOGkuleu0XDvClvuC9h4OZ0uZ8k0emEKm4/wQAGdvHxV5cRtzlw5SmSf92KLGmOO3tgeX6eaPeckexGMURGdMuYU1LtnQlHGjM3enTlzoVCdF2JkOpcoAB3ydoNGh8cYPw6VKCl+M+YAQ6y3VMQ80wUK2POD6vtdFyqrr7jAxS4f1v3MUklJUvbGmD82bi6sVzHhqj/7T2ulr3emGR19AFuwQaXhPjpRAMkJwY6/e8EutiK8UXK4Ub+YUGV29sxkUf/w+skrD95km/RBafDrPLQwtwEdxFtLfLhKl8vQHmej1XwcoaQupBP0t69AbepTnU1MgfOP23P1BA8dZGxwoNnZYczLVvsRKQloYZIk+jpyiFlJ0+pIbKQK8vlAVTxMFoirxTdNZ3CogiDNV9T8DgWlRTGVUrR/0MbjyHHRVpTX+O5dCn4CvLaUhdfRL8FHmljETXujNQkvxh3ZR6CULkjre4IhjXLBH/ee2zk+WdqY/vNj4ggBROZ90Q/Kp3hcWiXphuZ+zBEP0U55QCvxYZ2WAt/GycLwdmQ9/gvQE9FMMg+q464xsgQGmkd2fABbTLc6AbV/y7/n8yzslAaVIctc1XMEg8UYCF67k7exiyeTAAX2yyykISESbgR7B8HoJLiKKYNk7wytOb7bT7cDtvqNJXpq6xiOyYxsGZumuIHTtGAR/HmIgxA7k8Fud1UHpcDUrnvKcAfwR9NLMq81pBXrzAVrhX1ZrCj9DPUoo7TjMaSESOagxwKicpY5+Mr6wLuHa2iSx7D5LbioZgd2lSLs0fIN91fHRjs/PmhwRc9QxuLWnDV6hKkKeveU40sigyPGwkwOwI7kyJ1igAM6km0z/4dB2T8/iiNS8xZ6f2MDpigG2Nk4IEOPm87G+KKgd5yfaRe9hsme8jWboXjBjgkXfZcNRv+oQJbgG2XEvfkhbxz/OCQQXjH1qZUn2OlEwao+KJHXazFGA7/+1G9LKqv1FGtzuB63ndkdl917ZJBQTdvLlyuS/mJGs5YRLonujCT9BypgErOUosr+wbw6NujulxoAcsHrwqvcMCfdjU3mGRktUoxJ8VZsHvPqCqhsDvIdZwUUs0RJqtl5vGvblMEpn8mZ1d/e92lERG8IO6NGQkSInX1gUN13+i6YCGeABOgpYMaimmHWZvz+/vnvnWaSs+lbE6Vp87cD0q4+hfQZa+TDNWjKjBEuYiPzaYfBcJblvjM1XbZm1t4EPISS/81W86zW6hGeKzEk8TP4zrixemvfcTZ3eoKTvkiGcHnEiGx5IvLpWlk+ub2Lp0LNfeg7FpjXSz/m7wq2VuinMt7etJmtEf+yy4TqEW7EYjYgV+DSanLjg3sgoK+N7Lo7mmHwic1LUN3GBim5WKg3ns5BukhDiqJG4E7KsCwuq/V4qJn19Ps+atXsEbLAsZjG04u+ZKqcN1L6Fd1OtxoOSp2d1poju7rFJLqVEMW9+Q3qrG9xnejFXGu+ZzdfqCBb1jT8WqHKnwn2+HZmwxKb9t7EenTp6c7KhCZPx+DcoT7wit1YY8vvI6TszCpmR1FipmEQyAylQ08nekvQtvyCvhIz2vcMv8BKuNrLlUQlYBHTC/c0kISob1XiegxIwqLmb8fhk5TGRMNHA3nfhFxxvXFbS7w+vg1XdU2Nptw6zHH3yhZ5gonkDOcg8VXce+m1LXqLf/YQQ7sFAq6bcndNlZ7BzkZm1lPLV29+rSpWlxdiDe0bnp0y3RqXhJRRl04tyFAUcsXudRSJzKL6+EETN3Mk4Q6X/2MxR4/I73cbc3UzO4lhVwBuyfMNMcLfl1wgvk+O2UfcRh6QmxL0uKYq/8gauNDdgY6q7udm1YD+bNj7BaoTChLOdUFbPWtCbeJ5jOsFJn3Iyq68OhDlMPRk3A6bDhOBfnomRfE2Yn/hIEv7Gt07VnRNVgqqWPvRtLZ7It+ReVdwKGI8RJtMh3Z43vFaWyBU9KFcQiFzP/Vkx1yx1h+mSrk1tc4j+EQymGdg09cqWYgKmdpTVMGF71d5tsgD92PQZ/Df5M2/w8YshZYG4M5peQ5mOmIKCQSvtbiAWsD2Su8B2TSuP/EOHumx28rYhkiPA+jUBxP6XLACvRCoYXEpfRG8y4JD61BAOKj+9YOspu5DALY4MOHtnzUCCsdv8Aya0vkDla35Ojuutq7OCPQBNe3RrCvonooncXomlrIUIFaMKABIKn/iOVy7KxlW3nT0AKMdfP4DVGZyO+K9fbtX20NhKL4gGsdBSg1BQP+k/tUzyzjVjRAFDzfjWjnng1QrgQRcI0CddcLhRD5ZCrMpNZ9/3HrsP7jcqy22qlPw6VglIZp28uF/yxQ+D/v7pNiMsqzIJVJnVGGNtRCcrRkaSPJ8pB6rvdrfhdUVF//tUqhX4hRmnynglhhn3eHfdxk4LxKMj/SoQKfRKMb1rO37olw5SgaAIyDtoJ85AinrT0/72OFHhPTgZct4S98DKHU7DCgWs8Xx7h1dfxVqSD8/MXt2rJ7dgcQ8m2BjT26OKEpmdZX+DICeL7N8l00jZqkUmnJtA0yFwdWwu9KYWh/jCWaoVIhR7UF6oDAWpSGIx6LIcZW59CKJnDJystLOO0A2MEHyEIRBX2lIOR+AHAUs4lbL7U+6S2+K5OllobtYZmjdkKRWLk3mokhKsHlnF1sEHeQ64yYzzbAe1K+czNwyFhGOwUxXB8oe0vCwJ7MGmucVwqUdglPcdRhYRBPaxNkyPKkZ6cTKWwhGPQEfTniBk4YxJTqoctzdtpOPVY34B2IEuc2aJkbXEuBAiZzWMMFR1opR6KVV+vhkTiWlutNODFuFlde8xTlbzwI2R1ObM+x3Qi68X9wSY2rJdnxc4LJdoVd73v72p8gp7p2G1/EIvdO8v2aD7d+r6xv3/DYmwd6+a3k8an8ugb0B9DdpPegyXzFzFwukGx7GAMM1i8Xchk3GnvhBctaTvuiKf/BP68P/tX0OghvB0U/N+YLZf5+PxSDLW28FhvpaC4QW9kp5QRERJ+QvjJx4q1xxGiHakUoa87mnV1QHlDMj29F2GrZJ3nsqJWlrNWOyX9+kQ9IUbY5QU2lq+Px5V91QsWwO+xT0UpPlmFvhzbD2/UaeVMMjIGcHcrPrhZw8b5XSmPNu8qMYVFf1ycb3yo2t2CGGYcG0+HhXHAe1rFPHt9JWSC9eur0VlwdZ5ztiF3kgmkHGz86110xTtN5IUzoxBCknmGVsZHHqJMrQsOSyzy6EwGSWcs7QDz4oXYDyOHdve8lDAhABXD9QqVCqV6x9FSH2zyZOddxR4ip2Cw6D6xnBb65H8pkaVCzg8ssBqRvE9xFN5+nm13JkDCzplx2GlVEVVVJuYa6/tKprDGG58GsyhtbF87t/0RsrXWxm4jdtfOvjQaY+JmnHJ0JJHnmHheLdvmjB5cLBxZNQ1SiL44ED6fZLbSrsJj5Yf1lrKLhv/4p38QzXNZFyw6MQXDsTMA53GONmxEbxqaocBtb4p3K6tArp+93U4Kwyh49HA2H1RDgz+S72yUJrdKNJutIua/OjzGJ+Cy51iID5rdL8ZHTR7rnxcPzpfSyj6nJHAk6OoN8gHUxknYEqI4uRSwhWL/hSSfCZFZmpi4XHNQIu0bR30GNosOR/sMGxA2a3EvOOGss7I32WYdr+uv/Q3/n7HvYf2X+uDEE5hJ7L4woIt73xc9TUnZj28/9JIx5oK903UZlR861983iwLy6h9KB9S7n0AmAtk0rOggCdGBen/geUxzAMIjLVkYUOOkGn908nv9qTHk1H+iGjNUxu0DuTnzekH3dWvuGsyvd5726IzEF0zZbdLUDwadmeAsJI1dBh/NyjPM95aYpAOGUM71vw8oXKCNT1ZyfVpU8ZPmFV6ZoEpQN5wrXKQvTXpGmCkTRrd2bDsHLifhE/l0z0nQMMUf0T6f8L5yfHJVtrFIQeHwVKLA5eNmRKsiHE2onX0ST4WqnV2wInPkZ/9Mz7TrXNJi73ReNjoo+3ipftaa1t4wn0+A596wjcFmgxmrK4PY7aRAOlBLY5vXS7ONWhyLEEAMy8c/I/uqM2eUfqDE9wnL2pYatf8aA25lDrdKYA1zanPcXZ39Ms4hKJt1kIFxn7UytcIxEkBn0j5S4xR9VorWG1SuwnugZ7MAC5VEoqL/TU0hNpFSoR5a9P6eMjv5b1jgdlDi89T1qu2rr43wTVIHNa5nOFGz6GIR5sz5YBK0hCADZD/L4UYE8kiIBlNSmucnpTlrRNLdFchalQzZ3PEyBf3X3zpAUTK4B+4i2yH0nQ99dCHrUXNdvqz9LUaNWPKfkxl5Gs5gV7u1lkk+QKIWV53neGEWJj3eywffUm4y/LL+yo5rLxxjWEW8qYH940yVzBctGkdNIss+kmMb1NSfP0CcTykD2huB/CV426l132fSsMPtvplIdAfYYQ2BS3AqwN8sX9iHpAFlBj76/1ksuxLV973U29EB7R11kBwhT0ML2MD+jL1/6B01RmxCOraKAU3hVolePtIFvfemG3O4uQlilT5E1M0VXM1bcfVHKTw43E+aDJA9lnQWa3uyqKOoaNUGJG70GWcTVKfg2Bwc1NAdriipzXSkxIQLg6b5ZVgUn2UTZau9PlM+keREkfBcB5Tgf7946K/5UUKBARfySRo09gVbmmXIoXeGYgMO8gjaa2vVKBYKRjhs49uLQ4TgstzTKQYWvjjsUoSczq9I7nnplEZZsIpBiue3lOFzR46aiZB+nQS5SI7MR+uupaZhG0ir/VOR6CaH/KsfVV/rMu+FC7ntXpup9DOU80xto+CF9tMssMCpTmOJwX26VUlBTjzKiFKgoIK9sIJBih9JttnMTIVnQWe7xfD2eq899TNhMj6FaAwiFYLBWHLy+v8zFWnbRd22Kdo8QQqrhO1DanBMsbDcoYJs4YrGjRoqf/uOVjFZrYi3XYMwtaCKGZkoTKDrs31jsAOON7NSh8F+tP7pm8rRGuGa0fFtqDZx4SCMlKTs991Vg9PWVtI0KyFp4vyUXIBctICOjIOyF9z4Cs9IRfaiIq+cmPuHn0XpCRObwKOzK0xtvClYcPOLgAQwWw7fgtFjDoO8A7ObJ9YLdOL8ZbBRl52r10eAHIOrNDATIny4k1d8IdPUvUrr1pnjxXmUV/eQw4PsAd+7rZ0OgSB2TBsphaRM88ugoCHSms3eD/DuzmQ6jTar4fIW4+aTC5baJK+LPRS2EpOoAddSyJRBWufSSX2DDw62s+WAzOUE7qhJH60jmaMDrIcyqI9wGtcOwrcqJjkleemdCQFyUBvrGhWWkf2I4aVWXNTKmOBDS6Rj+2SCLiHckTtt4drUdW+P4cx4BwLgjmNvFaHh2dLfAIfhQSgPYiarqi+sVFlOVGSZ+sGNZilvyoD82MRYbQ9XBljlnTuo+RVPFodwasBwauFy787Nk75asPc4iPFTwXNsRc3xEvdh7PU6n+zyLu4c2UvtJ9qLkGtap89ZIMxhqDbDFVuTHP9UQskqHGs2L3H8nwZyYQlg+ndRPBu+jVK8lxlivE8Nd2F0HBRadsT5GXxF6H1FUPCrmGxhhgX/UWYKKoqzcZVg6sexJACfssrNalsj08FTfoflCH5nqiqRV4LqMCZx+603wYhVfV54O5XycciPpfriHB/Bf0Y5SRSZ7AOK2qZkZSN0/+ol99hAdFLcHpWlKiMg/64z/B3RoIR4OEubwcD0kfifQeDaxA/4Qv8beU8+qtu3IrMumozu4AOt8mca6Z86p7bshFr1ToTGQTAd+JFpX+JisP4Jrwn5R1m9ivamyybacKRI01UPINiSPArFH3uHCBvaBKH7HsUBzAeiRocg0xHAFDcNdrGCUEZiLHgnEVGqOjz0lq++I9zwwvTdrtiPljPZ2fn4e+sm4UoXoyMbUdurpQ0R2H2/264lMfeOHgLWMTg+pnhP8or969MNyMEhhiybhZnBHx3eoVjo5mCopw80jtoo+xkaRusEqkNuXsJd8rWmCxWY65Sh0wXL2NEugm8oJCYItVyjNPmm8uFUUJLVCJhMJHXuPELpNZfR/4Ft5Vnp9VSHIH3cm3CZeIqXGojQwKtZJXRdg53s7JBfQriL88q8samI4QMJE1KHAQFSAqXgaGKFMfuG+l7hgjlb21j4D/NO01TO77j6qLcnYw+/IoLaSZPaOCwyCLYgJ8/DYy2ZZ2WlYTNGErsD0+yXB7nJzVzXAQdV5aAPq4eXFInRKRKEDlinbG27GJB+IRUpEpYUY1lPrNZ9egD6TE0gF+u9iN4eAe8aMck1U2OoVhmRkbrkqxyo0K26z65VTnHmqTG/WDqYBqY7SJdimQBh4FRCA/9rgj2yxjl9+uVxFhElRd5W4/pwd92VSt6gZj/Nn6ssFxzVm5gSHtoUCZpmzD6cMBIXfZOg55Y4Qg7g9ZJsh0kdjl7+fDry3OpPrzUrGFb+Yx8M6WvPFmlR0PziVhYfcjnGCivsHLfxfqo5wtcQx8lFgrZMQp3sTpRjz073fU+OC/Eyl9HdqnSkTvVk4U+CKZofDhpJDmhaUUxQp7QgRrID93FSHs17PbQJTbGJuMupNkifRdGsQDlEp8P91DSWkzmrxxiEXbK8BNkTm/HlGMcmUk7HrRgJfcUZV0EieGnIGe/11Hp/Cd4ZTt6vmS6CN34xTdtqlp62nhLnl8pbrC1aqcq+0873xoHdYhfHmnpXcpH4boOd20dQUYeD4UbiCme0/BDB0l+7wHPpRqBRbPH2eNh3Ens7PJaxkkTK39fzYkX2hanpWotVRZbDiahCSL3KHThUPwvdPSo0nZfJu989e0bTGSOXRbNMmm9iEZgizVxLbNner4agFMclPLkKMV/wAiD0gUUc4+X9Eh9EqQgdELDfFtg/ncR1GC2+oJKyFxoYAtnYAx5IlOGfN0GbcIJgeqYTk1GhMFTUKn+R9nxC6S3t9ScPDJrRSl74lS18p/JL6LXk1cl08GzpQtv0i0PGSueXqub4lT0eqw0flM7UMX2U1xmBsWmQuzgiRSJpZ3F2tpgqkooe+VZnxomroNyaZTfonl8SEYAuhhP/x53TdxvU9m/oEQDlpdnbzxcUgDqr00KF5Gk1/fhYRlvhbkqPjkenNp/Ui+czb+R8JwWIsHa/IkamThzsWsjxtBL02524jsTIFxreVKbueGy6f6t0gDHk+e0afTFFkmqukz+pKQ/J8YCGmTFMz6d6Mu7uJfB+kPHXZ0SCTIEx1qHnRcrG6Yd5w/p5Bsz+xaxKbfEvl4w+/vescRzo0T+xBZtoMlOlr8F4IuP5H4FzarPx01RtH5EYx3jgNBKxKYykLTU3RqIhi/zyyXOK8Pv+HkHCnrr7Er563L3qUFvjS7RciPTrQI6bAJVIXMPBfia1pSPAigeycQsIgGxCFoBWE/h1z1nOco/0VmbTD4vLL7P6s3vbqr/wETp2BwesK+CZlYYAk0FxpinFiCmKVdicxP9yTIAMPUV0+MsiK4jZobpZKxqUzRFtWU5L0oB7UDQA8En/JyxEm5c6Ex/hRGPiBXXYYPAAq9Vnu/RGrfZumG1X3AlWrK9k+ksVsMoTFlFRWufH6jB2phaa/T++BxxpvQ4l5aXjsUYDg03I0ctpMaprfIaQXZwf746r79aVVIbIiOCMPtyNmnDHVfQ+CAP5SGxc7J2Pf2EK39BuPUk445BUHPk/7LTdoNIg6DCJX11CmU9gy846eBCRIRtaKMURjhNNWrcdCkltjFKzPKWnftHCKLx0aXhVz2pQaz0Mz1gytCwqFDJ3gWbUbQ7iLwDpWMNpbWzL7xxk+5h5ThqgvxU7kdKi20WruJrlSv+GK3vCcFDSP7Hz7VviIK6avusr6NH5GBu+x+neDdMIMuXgy0mUTZ7BjjB69bSg9qbYogO9jOYNE7uBV65i39UYGBj8aRyQc4A3hy3vWvfRlHbodIrcoWxI2RhQnUAXTN838JUJ0Yd0edUiCFV0btpFDCsC4M89kYMyMSOFCnUw8l5OKRn/Gta68GfKNN5urfSm1DEDWGxbpbnvOPy5goqY6SajO7bGpurueCf40rri8nbOwtwgKYCx9YGCtlCR284IP3sp/Fu9AQYSbttTD6Cy38G8kKaCVDiG1dmSZGixIUOaQEmNCv7a6ZwzOd+fHo5o7ZqAXygLLumkazzd42JJAdfHP3fPVgQ62wBGAlmKmNQQno6BUwJcNWvPKeKlnyWxDvhq4ARD/hYA3v7GTTyPS9SlpWnzcFsibnyA4SyLwq93Q0tVuxQpP8Hc670zvUNVZooDMFAtcMD6lQPX6ncmUFhC5KKxTAxGw/CQYjq405U2xMvPLYDIW9r26QJtFRKdeH92j9XYxQIk75ZdzXDvT6bHSH/mbk/eMhgFSi7MKoYYxhd5Bjpqzj+ALYrCs7hAB0VJayhxfMBs8d+WuYE+xFeVUqtvwP4SGxYV1C669yl91EGZXC0yug2o3NlgMF0RWvMWrCGw0LAEMiwVyhn/l6wJKfmgoSXwL+JqeP0WL7u/ONtDWOhZlGCVo/YTQESeilgZRPJv9UOEXO1ObnzdlVVuCupsLEtNuYdUW0rOuVAZ5qA3EFr1YmFbiw8790fzZpAjaJK5KigRNuQ6CGPdggnqS0n1gO86xo6jMCCM94D12MTFaSr8rCLhbkG61BLlkNQPyoT4wIMpHbQ4PHRgSbdgCMBrX60AmFf9JGdRwFxa8e3VViWfSgwq7v8KEjsiDDW0MllLc+NAA0UAj38XPk7GCP1ihFwtnErhiP0nKtf1+2yM7tRff2F+A8y0T3G6kDzHv2ouAgFrS/HIFEc0x8yeTEWzL76UByrWFirtslqUNerW5axEShHlOQ0dznGRziMlwxVnOz19KNd0Kbgk1kZiQMxsiZ0sZTADZ5fJyhNh8BUz4Ssg98HEeuwApreYf4ldYReEtBo9hos7PVGHsJTVsS0f6S2sw4IkQ5KyLCFcnyH4hA7ptvuKp8x2oVUP0tfeTsSNDy1g9kd1AqSVLCca5pEVYIPzkqZ5qF6+SfNuB9RWFa7IDQbkEi9eByv2tRY1lqUpzMk+50dV5GAKWkVSI98agWlc76ucEq07lSYTf6Oppt/HYXAaZ4E01PwAlMiwsA3c5z4QB11ypFELz1F9yFwXJb0qNEI+5gMp9urBtbWUVPb5yQmflhyvksZFAzQMkHmntuuzP+hZNi258v354LaUdkWksw5Urm3F5+Zp0clj3qC5Kz5EJJA3rhpB/g/ufwcEH359ieYoyLQDYyTDwXitJdK/7jwcWMjN52E/poKQ6q+pDf7EgNV2PDPAAihQxI8xNnXhHDz7fV+MJ0iD8vV9NJ/GbvU+vTOJu1yNP0SI6yrpNKf7TMJaSHFs5aShsbi4cqd/nrDlJK561Dr92icKkMF/iakxCaPYnSbVapNrElfFDzBISdBBT/MNErERTCfsoHyQ4K1+xgLtW43jf1nCf1cBctvaDoFn3vMdWHKaugkwE+Uo9kFHw1vyG67LUkCsNrErjzpc1gsQ6zOthdB0YZ1HOtreKu91YkPKJoX5y9zkmechQ3p35ZrLpLEoyUPC6ZNwonp0tfB/ZNcc9sehJpMnoW9QC+BdKNozc7n6oGBE70T3mjG4a8QH0Tp4MARAfut5MwylXi0NjcurTUy7XOydhsxuUYrbsnq02zJY3gSw/ZXcHs03JvrKqiVcALTBPR0K3Z6iU8ibkDtk9fjigCkiqDyG21aEcPUJkarCu/ZxFHnd2HvK8s4LZPehtqYB9HehE7opbmoNIybSCtXJbM/Z0pxCh7UweXwg/fu2HjHjZiWhPf/GJHpvSxB3fXfdMrAl+9zmd5Wb0FWYl9lLd3L8zrzVWvI10fASVmIc97j2CYb3ohVm285Qg13UFGN6f9W+iaT35DoNcplCkUjjk5z6+DrxUQAVNpDkBwbRoZdYwo7QqXQZntYyKp0Cjwe49DvGXrzP1BgHH/yTW5vie1bU4tBnloRROafK6apmBHlv9F60NwsUHoFW06s2oZtAVEZ0xsY08By3gY82rFjrNteiZyJg+qpwF1BGreSFLzJ0JFF3jctTO9Zy5qPaVyLmNF5Oboq9H6pAJRNPYDpHLMW1C6w6p+FitORmZv5OxyutbuhecIBVxo6EtvbSVWuw8fhSiivl0iU9LiL5fGpCEElAVSJA+XlUobuNkEpWn+jZR0G89gl6isnNMVB3eELJMkafZ22fwhGuJyNdfuAwgqxoMx3tzhcbhtdYZX62s+ji/vIAmXlH6Ranc0r3l1o9aXS15FkKO3sbaJJc7WCreTg2sdFbLX6kqe8MAyrB8298P81ipJ1fXOEOBDKq1gO8dy56MRNzuPi35sxMz9HQEHIwy/W8WDK+e3TMWCgw9JDgJajqxkm7RiOzE7NG90GuOdesTFJRYWcHCY39yT0Yr1P6sYdiF+cv6fg2hFOa0aObu+NDf+dEm7x6D5fFRmE42BB7aVRxh4gspVSoWQ5o3axlrz0lFBtd3gjW3bBY/3EkgqLXZFa1lq+avCIDJ5Q0izUdxxdfBs7sPaB/NE1sBX7lqiA/RQ2cxJCR0Lxx7Gw6y7SzRA+mMyZMtksCnk+jg5GA5p/hQ0eAyy99fP882OqytqSSWRP6aBdHrJi+PTAcQM4VUpoJi+LlBizudJvJdU/h8SBevMfGakLM11De03uya8xpv8o2SU6sxnr7BFApBFVeJlRT7Z/AyFDudqu4RovVDSbwjCUgFC6IPgpn3PdskIiBnSzEXzipF2ga2XjBA43QbukKcA9Ya+d5/9bUmQAi5ngNI5RqDOnV14CBoL48i93U1kfhyJJ71Yk0rKc2CERAEuC815EOsnjNAivJbrnoGHvltOiZRUFd93g24X/Oi5So1K/mRqOYMyRuR18zxYuzl36CsmWCiA2mtEeJHGOVrKULfmai942z6CfBCUKZH/I4Lw8I8ZBfA85TkcYfQgoyyqQHrLPaNoBA23UoiVbLjX8Dqg5yYew3alukhSQ5R1jWt6vYD9CvpEWHH7e2twg67fPoBK9GUD3S9rRURdX2BgfYVqQgoyBrXNjDta0iiNXliKJHCiRhIWa/7kcncy/2yLLOHq2nUwNwzkTadNuR21Uwl7nn5S0kjqW8EyPhC3ul4iTxvqFtbJ/ZKZuR9R642qUVmxjJ94MABH0trP9LMNJExAYGMlckxt2GK4QYY7LRg9+tilXrJB6n37Mta+nwnIlEE3uRLi32Mn3sn6tpIkAIa3qlfV1nxzuluezmKjdY9729+GAlc5Lp+ohHchBRplwuCqrmcojadpvN4mDQZOPU3JC6BnemI1h42+hoPZ7TXkb522AcL3qPVadBnW2ixKMjOEKRBMm85YtXLRkfylS3ll2mMY46E0NsdXTeBJ9SiCOQrxuy5BNIz1Yis1POiA5Xq14PHUXBJUtWVt11c9eRG1XpyC18YRNyBIIRKcxPWmeWUXVytJcsPZsJilXu1HO5AM6kQliwGQi2VfJAeM2dyIYjtsiZjkCyBDvB1ljTHapmUW4sVlrsvYX65AzHm59DFWyqC4R7gKnO7/cfAgk3buHEom6Vf/W3fK+6PseI5aqpJuYZPBQzSzkIU8v8TVZU1KqP/+3H72+h2x2GVfPa6SvBZrEyZynevOwv8dR479TI3f1Ph/34GoV6M0tcqd+LCKYbP6djIXE/rQkqWcLtsj+ccup5eAf+xKJHruwI6Xzb3XUOuIvNdcm7xZ07xtxp3vDQixjzj+gvy+aIeoyqsQP5DhFj2d9OtqvDznymaoz0OVA3ai07xu7LI7vxwgFCUna5TshsHnP7oS4mN3YEBnZI5mH0PWdSutd+OYHM78qEFfle+BbtRnDpYqgieLBnmTGcdsZUeEePTpcZPX9wavPa6A0K9g0ufkp1tUw9vABoumPMPfs1dsWGkpZDY+Be2NKB4lzrUFq7fW32693UgdEj0c/dthf9JZioRO+cnPtyu4g+SSTEci9Amd24Sl991euxiAAn9qpDBoiDyhZSJDoBdeYlohxz2Vg/f4FjhHxfLIKLT1OVHJi0yMMjoRfTDSLKN3X5asUAd6IXF054xRmP4KFz1s8kFyxh+GAKhPh5Nf43xp10GN9ZpXPNVLU6NOFjEtXZV18b2WT/ACNlmgACpiCgLbHRnPM/O3zRp+Yg9QX1DOOWCBxvJMnSzYQd+HOOfboqThjHgauK6byR6TE+ob2GtPjczl+DiUxwHIsXzOOsna0gvmSPh4IST8A2lJZLvpQzX5LGf0uoCWC8tCazcYnM4p8oNzubJZd1cM5vARdnP67V4lN7pJM+uUSFsNHu+fc8M1QF6o0t1Us/z8Dt5aQq9g369QBonRODYRb8aTSaCHaUzerPaEtSYN5+izGTHUuICEKUe/76X+wIK1LVnfy1g01gGVpCQHJ4bTdfNQoUu90Z4m40SvHAQTH8Rc1kwtRRtKzt43lMHzKrr/NVw3ZJTsZO238GpX2q7VDqyZ+I8um3MFs7umtZTkySlo+lOKaCMy82nFqzAvXcWtQtleGAtZesDFa1Altz8csKRpZpxHndn5Yq2jmZ3z5644B3ec0AFKzIyzsCXUM++BV1ULgECGqIzGNvznoc4KxaK+eCcL5UNDw0WiQAk3KTYSNypy6XZbh7ot0fg9yGmJTMmb0rEGgkQoStBHnkIZUI+FVH5XsEuduue+Rkn2wCxrQHlJRp5eFqiuALFzCjVwzI+CAgWlqS8YUSk9bUw2pFL5MqzK2W+dpPhERGaHrVvAgGOzLuKzT1nnU3m7TFjxzz0lqVDkogHGPzJmVA3vIXdCcaDp8Zp7Cm0PusdV4+k2ubjqcB2ybPjSqOy+QvTlss3YuNAzsq1XKoFbc1ZLgCTND1cCEpClJpG6zT6t1yD/OGTRDKyGHjKldIVdZMk0x+d1OuDnnRZt9LJ90ReUvgW9FJdwa1rDJ/qkoa4LWp7Gnfr+hgTMRNOXISgoEzamK6sLXVZTO7HOhksrcKisZ3fC7GUgkceChT0Umgs+IrLuxLMlfM7QBvpkTUWUHFGXrMXaVwMNm1c9S0H2tjQ6OM+lHFDiV681lle/coKgZOiTS4+n7B4upPx+RbeWVB4eMRcil4iUIHUTcBQ58xCXtkv21RqdootjRKdbXXMRmiovooxniRje8qcJBceawIt70bVcj2IFHiSUDntAo2h7ZPtOtdqvslPJxbUlEARgPEThKVs6SFw3a2ig/am3ayzHNyIOQgZ3qrpJzvEs8Ep1Xwlh7/vdLJ8Muf45ga+g1zgbAufIPku2fyi321epgvQl7w+mo+ZzrG8DQKJod8XaeudeuSAgmef112ZlK9ySCH6435YgZqlZmLWGdXEAKcH4qrSbFQwUi+1VD3YyMZ31VS578y5nQIoz3D/y+mCYZe7f4ylLUCE377gIvXwinQSzJqPzmDZlWhcruw31Ww5j8qdtRmbEIkqrqCuxh5hAtJ2kVO+HISLA7Sb1742AonNaqcxy6tfuCmVsNXBsIhqi+Deq4XH+GgXi93Ux7Fwhd1VQUYdcMdcZUorE47GU35Q8ywz7HX1giw1L3fYbZqH2W8hwxQlf6qBpKAcrWMmgNbov5N8dFh9XewS6HDBgrjqYKLpFGkCXDTI50+sgsGaSoZClx+JjOEKaQXu+9ewrRrLkb8Rqp2jCLCfellnS5dS0t33WYhe5ivPhoGMdJlyTYf5Vk4rg9RRBbnk7r7QLKB3PUp7dVY9AtPKb3GGchnCzCfV5p0NMuNXTgWI9XxiOdV9lOrYeAUigC0TP/tjnq48W5SHLKy4gzH9+tn17hEDx8Ta/eqE9UMLNTqFHH35MXOVC0AwjktFONTXq9xhAjBbJAISGuYahCXXTbq06kmUvhfrIUhg867xRcjyHQqQhvYnsLNc14Mjzd5tz+67am2Qrp6jdz5Ffkj/3UXvTOgPoum+cjRpQeNtQ4Dq6n12qVOZEmIAtJydIiZxiZHnik8wkh9Psv96Q+ltZFXBCMAXbqeb02TuvjTn5MZuggfD1KHWvNYxqF5RsPpa2JjJMqvfqwHi9EmYJ+usiffvl0WCn8BMR0s6xj9G7eSIzoOQ+YIReuEUFyM2TRB6/Dlh/AyQIcHYXsDZJcpDtB4p6fL2sxD+Ss9GPoeKTD6XiAQRQMEKzoduK4raksZ8u4jC2Wr/Hn7DLB+beikxQfzY8HKOOn0oq9HZ32CYVmK9mAgjT7o1mG8WhO12b8Ud8ZdpTpNDboT/gtBx6JtmwdT23RxPpXsUO/AaAEyKzHxxZWFhwu2rL/8jS5J0Kvut6+prPc+ihZIrvvShW9hgCwdmTsiHOOzYRKLNiNefZqxoAQYb6zXTD0X1kC0S66p5+2IcFOXHXzzoa3OX+3jMCUUjsu904lJ7VxJeXM6bDd36olL2wObsxE293jq7jkWUxkDmAN57Rlqvpdjczneuyjv12GWXhR8EA/JQPiOUAGCgpBADRyiranvpsKDiYpDJZMDnlM64hhRQLVEulHng66twgRnoCWFh7a3sf78Tovee/rG6dPOYKfdvPs8tGtgL5Dv9joiVNFfgrcDO+qR1VSsJ8OLlhhgc7kFoUbSEkEESNOqTOwLrI1MqkPeYqetbgsH5elpKqb+jHiBTBuNGjAAq1OO5LM5mLck5V447UhwYkKEFfNER7h/6ZXW2B6BB2avJfPibYeGwBH/DskD3/c4woQrpnEQu+a6mD9erF+n1dJE8I7p4ni0Ae+g3+v1Cix8bYSMA+VuIjc2B8rD4WAQYKglrcghSkyFu5/Z/LWHEaUDtMCeo85r263Spzkd98vbhlcAdJ5hBF1kPJC2w5iK3zKLs1RgAwl5SUh+OA8ec4uwy7IBc8v8u/z1DIkDzkAtrBq69lNqSoeTkMhsQcDJk/P3R0Ip4sZpAnl9FUyG8U7h5ai+s/5uY7SFfGlgAIQHUQdzTz3hP3mhVEuzFpzWDaPWxN0n0p+OTJgUE499LzIrGjSqxctVl4c19fM2QASyHer7tBgQTXftgULXsZD1brTseoCG2Y+XaAH2jjRJIgPMTqkl1jSLnZBbXUL6j92LtF+R/TRYk9UcrxkrT9qqQNopdr3GNlkfV3h0L8sJDGoj5vpXPUAQLaZC3zl8Yh/50hFmJbOw7fw37wlwgsO0aifCrZGSXKjGSXAuAVoWREq44CyBodpaTPO+DayDj2Rvp6xwxZ96bHsmOV3CPf6GOOwPGwqvp+wJNunSHDc5/ulPdix8IrBpIl+rTm0frpclod1p3vrXvm+KTkTUbjalPgKoEDVExb95Bhl60cZmXbUCOGNOb47C2kbm27jXqZwzUjbPcjjkWcJC4XoIudY85pifMtGayehjGfESwjiOzJYKO1crCvXNnc096IBvjvevyEiy/vRF2+4KnA7PrDvOv8puAXPef3iOG5zWhUJTOeyQFF3Z16b73m7FWN/KlDl6+L1M799ZlYJMrRN61HsfpRrngvhqEJut62CXf0pHx2W464OnNJwnPi4Z54PhkUCXxj3lF3FTgBBoytK6BGP1xgzL6cWs51wg9v/JJ9jmpfKNnYGpjeg6EEHuEIFViuI8G0ta81jfkZv5sEnHNxGpaL8HKNFfVS4zl/T3OQffOQh2sIQWIC5+CGz/d224oS5EGXG7YoGJSFI5cHz751DnLv6Tx2XYcFysWuo4FRI+0lZa+MskDeJMP0zAtAWkpd8cAtdI8u40QuOQCFOruVNZWj2jnU7yI0M/fKn2HPNnUfD8haly06orrEjRu2S2roPkRv0/vx247bz+sNaudOWLr8ZzuNnIlK2hKTg/r4LmRCKWNGzJ5wixr70quzh59sMccniWfkQQgCIiXpOFlzgIqd/fQA9gEUVyuCtO+CZ2IszRohdPYhRpD/FaKjmXWHzKHfvfNqzS2dCyNnCLRex6n6FIti+jM87dtf3YT/q79bdaKIoquwvRmGoKQxKE+9eIfHOoq1eJo8iVEDisMvKwTUDX1KJuVWx/uk3MU818ukgPGsSkDSRkXRx15uGNpekq41W3Pa2brg0rWrXJAK3SI55o5m0i8UPt+FmW4PMyIjbkbyeBX7jUxTCs+SocD9Nedb9HG4RXeRIxJAKCZ6zvrPXou6DeHIjxrNo73BSfwc2R7TQZ32khvjWgt6YHn8k9RXtGDaZ4AXMNyAWLYwmJNX95qPixg4n4CTcoYtTHFoA/oIgnv7tYo3Wzed5cTbSqgC6WQe0tn9rLMYGp57lKD/9wC2zeBU5EQewpPm+Um9Xb87EofFv0t9Nte+ytwEP3WiTiW909NNqJ7zbgvxrLKrCetHULlSY7QSu3FilhM0VkaYvyPxxlV3sPdrK08UG+m5+oNCACQMLz7fAFDO4ln4H8yd81WYWSxyubgPin87kwOW9aej7qc18UKJO3SnQ6Hw/HoIprSpOblFSgEuonzDcM8dDRlgkAT2BnNWnhSsiiQ7IlL+X9jrK9K2BLNzIej0X8pR0iYVPRgjjvY6MlWex1JjdBlD4lGDV8jadHmdniNLdo0NZSZNOY3Fn5VD/BZggA609Z84/hXpgx/Jy2mEat9r/hxK9y59zx6V/YEIC7tA8bSmecp2Gw3/bgdst9lTKx7Z/szPrEY/FkOOeA+ugMon360yYzElLUUQp5PCWDDOVY5jZMi36a8kItHMpGEN1jXvRaCuHe1HCrPnBosYla0QFfNXTLwPYdCeS1/tpltF9zvnR5YLt38Mib1HGBJln2K6uRKA+XLMcjKxXcBwDy4j8eIse4zZ/Gw7nvGkSELQMcAO9F2A5Cle7bWZqyik1/Peo06PpVpD2doujfowYgunl+eOpZhgtCRXKkBAzqFupHwl9MpXa4fz+48iX6nW5JTlFHhogt8AGz4nrhevv/bMTpQBkFMnmK9AqRfQ7793SdfBw+EO/T1osSXJb2tSCnDpuBwEwII0FeqzJbLWr7STix5jxYe77N1yBfW+OJVqd68yojXHfFpu5zABRlCvibnYOMjedYPVHd4iW4K0VTEdgFshMxCLBxCm83P9tBZYc+WBjWDb9fmGHRjBjusR9qXLd6xjxN5yV3i0gjYuoWSXEl9WgwwzWwGxpSr0eUeGQTozJ6QBmEZg/E/okWs707SpV11A3vt3q3dfAPvpqF3Hxjxdqvl9ez3xVANAUWTLVHfKP98kWdfOf/J49e1iDUtjaPxXl3P3KsUdbCGHBMac9CjcjkaL44E7ougLv1V9SMcXZDu0PMVZ/TcTb22oIcWniF4Ihusx5QklajuxpT80EO5SyFVGrGCvBtrQ8kH1iGubYY7OYOOQqR+a3uI8FrhFXNsfhlmgRIDqWVHeM/3SMLxfxQr8gan19SB6uvnB0qnKrih6AW2rm4EPzyP+Us6KAfcoLLxMid/sgxb89TF2BySAc6mA5hcqjvTHbppTjarsA0+2nUN4zsIlZGBMcHSmrrlunq+aCyu1NbhQHBt4WHcoDA9SbPgt5Xauv9L2s5V9lwEGYgHOkvvI8D/Ug6+BfyLtrkELOOOgAG7Lgib6+r4yuYcwdspvk6hx+udhI9+jaC5Fai6PNucdFTcNppkCNAGW0m7S+7x0fM5+1RoVQUjHieRL7qGBlZikIA4rkWVng8eJihwdJOANq8ZYwuCiWImPJX7aWe9ucM48JE2cBauEK/taK3YDeym7aUCFNQvcIt+owDIWSLKTNNPSzdO2YtHAlbuv1DsvyO+6Z3czfAwCbkbBGtcKdEtjzUPnf8QgVoLe9w7T/pK3GGo7qhcMKkz5dwCjPQZ/cC4SMqolKSoUL1Xk4DwSwHuxfoQzVlna616d1fIO3S0/ZcgRfIDu42xGTRffrLPECRUK32tmzzOJnMV433Oojd/zw0q59nQbB0swt9PhgsRIWVmDIkuKul2TWMN54NKLg3j/yUKedP0Zvp9UWZ8+r0Riavn9lk0v3dpJok6vafWUayCsk1ba2eC9nuaX0oGJUTEN2eQUSG7OJ64OQm1Sy4xoiiJPt+SHGFInhs0biP+3gOGozrQvmMt3edAWLpxoP1R/woSIU5Evjk8/e0qqLOxInDRdJxbJAalTpFDcF7QCbMDmNXajgPRxoCrUUDcaUMt3zW5i8Un3+uMPpqjOGk/t1mlSBX+albv7Rkz5zkbhCWUfs268/4itEu83/dcntQKcbQlQ4gkh5ONR+i7rT8F0lki8gvCNXDqHiLbBWVv9IMedi+1ZmQvh6M5RjDo86vj6+agLQf1aVPVvQmcud94HPbxYJiHk+7Gf4MIDgR28ZgUDyZiv8WT2FaO4pL1HAJwcbQAX6reYliRPzG9kqitSRw7dD90Md2LuZshpsqEBgAYqROUDb0vrCJ10sYGn1kvfDMMnggY4vYjX7i2AhqVX3ayQTvBCWAlbAYOIHdrFlPbgICrohoJ7FtlULJuBRbl0oJxVpzkxJjl06kIX/VAf7oLFu76rSHsxhBPjH0qizgrxR/PLbUEveeN/Uwj3ehhAkX4lsOvU0bahrzttHKtCNRgTMBTCHBozeeDAGJlcoIsrWJReuSv+bpleK0ODDs1d9Yz+y1ERJhMWzW7Ztx9SvD44F/ij4aiwpM+QbfetQNeU+qlf7tql98GUgIiRoUSoMgA1DNFvWqTdvMJ2G/QqqMqZvw5zhD3tBDHmcoAalpMyNO5wJaQ+WnzSkGFWqIadRzU6g7VmPbZSAeckUcwTWe3+aGOI+DavLYVPngW/I/QPIA0Kd9pOIVwEtSCsp9mfd6DX94YvwjdvXWCuzzQPT7QoX9upo/Wt1QMAhOSyGKH/H7LCPiHua5urceHbFez4Wj8ThmOn8XU+XtUVtzELmwgUlJ7kwLkvhUyTlOpJYtUGUKswrxrt0g0pEXqGYNfM3EzAGGT7wvFKodIGJJFkCT00K/6yiRAg6X9fK8tTSDE1+TNgc0rgIWDYGhRrDOTd6SacIlGwgiugAb83VF8QOeABQITbyq38l1WiX+KUk7eOZOmOmn0jxF2QRk5vUDo9lHKLtgP3n41v7U6wGcB86S8K4VZLyZv0/tTuWMI6sWUwPi1KFoJOJlF651BVtS3uiOkXFpwL+7+UXoQVjn5vy5j5G3e2LNO2gIC9tBbqkkNqn1rpx+DlU6kD6ZPRwp2XLWr3GHLMhEs0xBhk2aQfI9Wm/FNpuFEzHUeu6KNgVGwdRxKIwLpaiSdfumXJCsqvO0lbBl+kr3wSSl/EghFJkTXsuVfLJDNohG4MPrYv7b++2gkeQWCnmTPwttG0HVuUxsESezi0QMSEMltpkNZmmJRrGfsZaA7pYz8aH94IKAWtrhX2TctCPy5RM6D2rKJTlTvHtZxMpBWZO8zj8BNsA5Z1sB1ImYFFcpX35UrNRjKXHQZVPWf06mqb1oIukzhH0yn8e9C85jeNaLrUc11etq679EuyXKF2AQsXR/GKbPVxgDvNvveeuxgAbmn14abIn7BNoGigRM2dOGunKnMK8fHn8tHL+Q8XJh/lURtpSt6KXVd0re1qgzT9epR5SlVG0wnimsGKy44iRBVxu4H2aZs7tM7y+APKTGFjkik/gMqg6B3nGPitKk6PxqtoPwc6MYLPu6uOVa2lcOIhCPl6+/D9uP0txx3/5uL46YP1vzQJ+6utyOQWSllj8kWUz5DdD5MDC3zx5G3Jev3hBKt/We9/00ouwcAAWefiz+50IKEBGNgaAxisxxUgHm1EkTyn6I80vwA103jgCVuqHwvwQdxcICdX2W9gmDLs6RIkIdor66MB5RExGRPdh09eRV1+Ex2i0m1uaijXAETCud0L+XHxQLV5TNwFy/IhhwGbqxOlz2KXv50FFqJ9RuVKc5xEkWkwSTcIdLeV7YNvHzrLY9qt9EQfdZXgJeK45AxBQq1pPVNev+5BfIXyA0SJc0+CblDfilmoW/KvPY5NBC0IMYbNZc5Sn7pIa+TqK4kM64kyXcV1Cj2ldol6dXK/mIDt+SsKN0Q0Fp+5V4mAYOauDI9GpN2vI85caFlxgnjv04/HHggwHjDnxZ3uN9rmpkt5ns1bux2Sy3e4CEteNbCyNaaNZLuGeSUeDc2cE2T7H1V7O7fnij5fmsdKhwJcr5vHtXC9GtO30GMukuWpuXG0wi8R+yOIbIUKz017LAcWlGqGkNI9IdV61N5tusln8hkMcowLNCaHGZ81Yfft+ygIVTgMFSsMLc8IDscUXpBdG5BW5P2IyXitwjML6gUNMNDBLAQRaPYItuMVtmxwH2kzDq0o/TxaWhLn8TyiZ5Qf0fgV/Nvj5sihFsblwDVloocNUyGxlFJ5GR44SPvrqmG9TqRMMpio0HsQXERFTGWSi+Y/nhxHys6X+tXtmIQGhlPINEJb5FXVUMCUOVd4AZoAb/IZVKsclT+E1BjV5IbwetNeHF3ZCPwK5gFWTLHs2g/Wvup8nC1ThIXtYYhK68XitCbNW88Aq8l3dPJOnpB9na0uIokGh9hDqj9gRWTQ5zCVLzMkabYxK6+Wtcl3m2yYVD44QeIvjYW8P8+IoH7CpXQCYm9V5bbXTGrtNW2sXTB8WB+xOsmxCSBJLBbTfLaikKrBM96ypXRvoQL6ToTr/QP1QAbE123HcyLqcTrIz1xcMFA60NeMV7VN2UGlVZEvMX1WrGwjl/C8FieKPn5KoSL1E0o28d0YlAVcxpqAVtrUc6AN0mE2y+5k8J2ND21drLFCXzCvPUINo0QS0f6Y+ESpRRaXUIwjBUK5oD5t1glw9p2t2c5weA6SHeeeaIUVPzMMHPuH7Fs9IEOFOx8Nj3JxTSw0srutecoqUPot120eoRzbhfu4ChKXQZlvIUNm/uYjtNFVkr2wXoT2mPtbC2b5PKtXbmfd050loorOm+f33yxVPGk7G6Mdu0+6wsJ1i98OSxz/GWLfZG/xRflTyv+jgG0yItxCwKwWo3191CtxZ97JE6xey9YgSbcfPXMS6HC3gPl9O6YYOjexoRiIS0tBzA2tSp94n53Wbau1LdOQIXYkr0piPg2wfMN9A0q06OXwl2qurGsaE4nA9uRKzTR7Xs2Cg77AtKGROYT8PwkfNTmAOrMNR0EEt+MuXeixJknf7GVpZ7htsqv2zJu12SrCUWDkL8jxA20JvJp35D/q7p2VJOCXtQHTX10BZhqZ2nhzOrMgP03gFPPHc6N+UNNCzXxIcrc96qN5m2tY8O1QWb+63KLbYKIa2HooGe0b5wB5Wd9TjGEGsSImuWNIXhC7tqTPy7WVKkZvJV7zposd7OuO0ZkYTdsBV6Y4R5IAjQz1EkdfZP0/rgOD3XhLYtsw40xNBPxXIC2vsLZYGxSfBxWs7KPd/dIkvLCd97xpGJgt2sgg4xe+TAn5jKw+hsPTE5YZTYM1GQPIGNwn11bPNSkIv2m0KQ8MVCLfln1Tnag9wagBVZWnxKVH/Xs5gCx3tcr9wMGzltjhoySedVxt0OhlI+gbBpyi1YYaCf3dYys03TI2XrDI6WGy66v6zPIrc5L2Ayx/4aoom7LcV76Ro62Jzmaa1nbpPsV9zZprec9bzc0tD/ct150IA7BHgyRTDxKj6ckMWY2YYeoUKIpRwnYBPs/egQq06W/DQJFre7vx0TZf4WgCXwqKX2rQJhOdzD2E/1vtSw5aT7zeElCn4V5fCosYrwNciHUiwH4J/vksQSl7KfJZPdnsVCJYmJwvrsjvno5MelFylye7K8a0Yu10GQORxxclB04rjVkZmXPXfONoiOkJIahOom7MKYavowGYu1hVWGZ//mqBP90nPk/LhpKs3tLH+ewipIYgIqYFNX7uKQepeyRgyI4evp+iAi01NQfwDhyMt0CVXa5zrKfpLVKof5Y/0jCPjI+h1c+1nF2vP+jVkDukjyvSrTXpJHXsxMk/VmdAZWAeOZcm7KIyMQL336VV7vRW/8IhX//7R2BphH4oEtn0QVj+EDRLecKie9yhJbki9GRkr/tCza13DmdybdTbkbznIsschHK2v8aH59UGF0I8PQcg/+lAOl8iTkx7NYuNGys1qgNNQ3PhGXd+MGsZTaruEGtPX3MmM7aDGUbMUmmApoArW8P7e/u4q5xi0phoyGLTtsh47G2qWf+ETk1h5LaJCi/PpLhPBqIYHc1rh74x3RkaL+OV9ZBtJfm2l3e8yq46MOc0shWjXNJ0VChXBfYr0/5knvSyDq/f2+unHLyWCL4tPTki4CfSBXMiP6Yt76TJeBN79JfXVvWC0+y074pBD0EHYgL5L7x6kh1TQJ00IaqKMVWv1qey+qkc6fO9hn+5UEUBS3892JRJDUWbdxNZkLGVAPO68UXBWsSNj+QNIaOJokWn1Ku+HKlrOGdHA4fA19G7Izwwhyut+Whn34FUuAOjRFJ6rrAE7Dv/VMMKlWgIUbTcLQkcemFRZKeeMTUCX5N8Y+7lNroYPv0Oxv+P8hpxrP5ZNHJQgJj8hOXK2UJrvIMHTHTNATzVTOlKSwh2gI14Wa6/MAxKRyMn2/LBYh9fCgKl5F54qU1TvVRiZZY1AGnkssAXR/pL73wt6k1sjb19A4BCHAor1mJrz9zxVjQva8MdiTHjOuCec32N1t/o/Vr/EI4UValVmvMbRZJuEK6VN1vKFUlW706ISDa2e6STYlOZ3g/R2wVw7ePoLbJRPz1M0Gss2LXzHwoMq3crdzOCzLlhq7CRDkef3hKdUIM+PNkHezc+1AHdgyaWjKkjTJdvkOCaR1Q0Egy++uUQBJ51srUc6Z42mH2R8jpzKI57T7pBJP9m/VxNltmrhO/wLidO5kpI2QHd1+SL2pscLNE/w5P+vS3UvbKeGDb+XV2rK8gYR7J0ePHBS/PsyANRADS2941AAdcWFcrfHGchY3F9t7E49Y+lnkIZZAdwxmQgz0WdD+iFf33+PIsmsL81oR4O48yk+D/6e6XOssA91f06gYU1/UX5z0Clhwv1vUwQ+5X3DLYmbr+tWwL6JQBZWEF71YkPF5H1C6j/x/3SZ/jeJ3sivTlbo6qJgodhp38/jl0Lui1rIqghj7Fmqwuo/GvOTu7+NfFXBOUhYX2Q29luRtGvKr2gLVgoOvFDQNeZAW75/Avm2S1zUSC4hna2jEMz7E7x3/gO5WA6R5exOUJPLCVWz6hvNxNtU5wXqApIFEDLgjUCdGmXlrwaHwyRIQCFfjut9iHGwBLHDInbIuXfYQujaekjIxc9+/R6Gtek5KasY8y5eJGx3hsDpwojWwdQC9W3rbc4rDWcJ6O3WbFXf4uLx02xwq7/rlPwQl1/r5RjgB7m2uJjFTRn6YnEByZcVl3OXn5AXOSPzDK1+i7+YmTySNmrnk/Hcy6Exg7W1GyLK1MFrw5Z/nblLjGhUxUI7ORnbOSPrfzjYVCjKH/XvUNGxOBcz2G5mjEKWY2qyZWxcqZIioheUyYj4ftLjQxBhoICNIr/NvRIaACy/WUvcVU7wRdBpmrFt+rTljie3+lbN7oydk44vQAmw8/A9lsBQUEik7zeMSiGtRzWSNkj7W/zgbodNfdEqe0LaK3xXUfF78Q0FNRfByFV+gz/ANeV6JIbkNaB+cGr8o8y25HFD2XVBXVSBgwocwJU8zHaBVf1wqtkK41Phi1oDprMrUDQgkVvFwUdAhEIRd0qqQeIa+bTta2GU3OzgVciozdWzh7e31A5ouG3SPH6rO/T0/cTQTgiaB48MtavHXVa4YJgf5QSWrD4sQPJp86xvsc4oRhsF94NvQ3M8JvDV5G5kdtkD4IULFpa+TiwThH1yxgzHJ1PgKDaQRuoxLY4p1I7vahv94PT+wuzBtUpqejkyC4ipNZzGuoZDNAwdFSDLgpBVlXXHPhBa1Whfo6sEb/iNk29Dmkes6+v9qUAdEGGri9dmzobEl7T1XgXJ73nMI9PSLnV3RPYsb9Q7eawz/CBeLvoJENqKwEJUptgfMtTT5kbGfjAE8dhMjkjpjivt+h/4eyJ5Z3E4v6QPO4Kp18dC0pBGCi69AkvDWSlhxX0bALhSa3dzu2SiH4eV8jFhoWjOsAne9v+Az0iVq8r6A7Me6cY7gWc3PSa20WP/b0fAzS1U6MelPJDNCSSGUjyWVtaphcdSxDyAfF9vvYMMwzvCGmpqGiRX2Xy8cfCM2+BkQRL2/t5NClKOx6YCR8d7O+a6OjDqOBnV74HqaiPZKy0beFs7ugtZPnKJduZDgmUKktLGe4KEHTyDnKyuFam15rAlFam7SP3X1CoL4oKu57k0XM8/hFGovWc6MM+LyJrLRQAlaxuZdBewsx9ua2oG6uf+hOQatQLrU6KNDMpN2IjXUOALTwzpAUEv85A1RyvQd4jBEVjw/wccxdBz8TOE8Rr55y2dS3O+IubeQKjzSsYFzoS5fhX4C8UtUj3ATQ8muUh/b71ZyjtQyeeVyInc4hDBu2BAAtAJpkbpYOx+7zSAZ4ggW6BBLizNsy8Io1LU+BTW1eCz7foVudGJ8ABX/Km5tedcMuYyQzL4J3VlysqLGhPLzOmoPJdLn+qGjo/I1+tvTTGa57JY6HqRXaJWNIa0q89hEkMAVAezoTLWI5YYNt3yddfsjbFZbMiJT7gQSCxfCYZCe1cCF/d2sHeNneo5Vi01Zn7w2KVBTFkMY8DujaMLRgviiNrSfaGDIgCClI5pV6nyR1LL6pG0vkloEXYxKIa573u29rC/uisWdRiK8h+eoID9PUkTNSRo3DP+rV7lqWo0RG8HlyxIP5o8oagUh+dnIbfUCk/mB7ECBKiskxTL54l7bgePppJ1iAUEYuX6tOYfaXVIe+3OgHg56aHq2QInOpT/ix5Endd5/2TWaiGOI1PuFvkxDwmhU5VvlQyg+sNRemc7d2d7FTLbxV9Yo7OYOcLZ2n5qJFCDBxeqwDvTK5WjFGWSyqq0pmBrt1UOIiwZNrXUeUmktCWrsuWlU+RzV/H+jF8Zzw+fXMD+Bs+RBciL2cnRw6ADk6IFPO2K22DcmoZQ4STRrSgR2qfAaGjIfCbX5QMQWgrfnzEHKiBvECUlYICCr3LBdOs4oI0nZWmMAFtwaRSw8bjw9lM2/yS9Mi5CLe7WB/kcaQ22rs0kChMBnUdk+G4t30XxBYZD8TTEvzmINx18h4JbpfAECV69GJCCdz6uZYz2lLoK6UpKpbZ8/fWtfWHohDhja2P3E4uu8yBshOR4WPiLVijFZIASN/KadFsVXVIWMV8D8dfPFmKFwFvYBlvP8UIQevl8ojY6jR1IFWDsqIDUYW/hT333lnDy/d9U+DAMya9MluO2R7swXM0s6gf3lmwrR6yJ9M6p63fi1/ZSnbNfGZTHKtDAFdj2QdoG7QgfGCSAUNz7gaQoGEWTXsJjx539B0U2D8EH9tVvgPh2PcGBltUZrJE6Es+DlM7CyPANhwOeGeK1k75sSs8eAfRoSgQIa3eBVHfSZRZod9V003HcwvqBk4DTg+wA+FKm5hM/Z8cj21l5pIom6MwkWtmi6q39u/w7JQwba87hSIJQLIdPYb8L4A3ajNmPUYftbk9cBBwYIsdGziqJjn1uyRWyCzQlIMgqBS4BqWrYGHAc2NKLE9w2/W9f3jOB1uR2KgFsx5IXc0B/0jvkukWf9QAnQZq+JWO8SEDgBY6xKIhaOjfZY/0vP3i11lzaVBRQbNtMl+vk+9I04Qan8PX7vOnZPVzw3SZKBa5RNvtP/XR/CInMF/eaMD/uRRAi9wYyzovlIsXW892vedDRFyapVLWdh1a3uTnSFhGe6EhoR32ho7yknBIuoQZTzq+u6AYKLxLwThsaNTjtbQBxfNrQ2HTi0Vwx5hrAwTGczO6OgHAn3SK7mPJPrdv5Ntu/MXm/MLyvciBplkvthZ1Wj1zwCPnIJuV+suD4VEWTxwZN/eYMMk4Lhswxfat49EfwYdUT0y54cPCHEH6hb2z13/IVvYMoNhxNnbULllOO/5mrkigueRH2OVZnBL7pPdwEGbFfknXr+Hp2QbEKPvj/EKEkyIGKj217WtRPFqsnkd6NOI22mLI7Uv8t75/qavQlhwETYYAWEn6aHC70JAosYOaWUuHQ7lveAsYOrzNTIy53/MqfRWCq4am8G0zTuD5qtxImxlMNqAChvg27WUC80DXy1Z9zib4FATjBHUCaru/xJ6Tjku9zj9FGrNan9C59y3Q/ba0LqV2EMi8pjLaSn6i/JV4XI/QZGtP0rfD6Qw9+D+n59Y+lK1PwrCv4TkwNAJrJ6uDV9He+AAubnq6BEtiuNf5lALiHLLWVuL/CClQoJ1JDfbqT827Akbs3V51z8LoIX1SJfUdCmLxAIXXFuH8nUUbRUxzMgx8ikxd0br3qCWIYeCh5yxg1yv6WmEasRxWZyKEeYq1tGtdHzdpIbZGEl8orBv1/nCuZhKZZVLVIrbhpNEva0KKlAXSxOLqLp6rjopEDUlRxYmKLlnxkjzCXBL3FawMcye9cBUvvHaew7JOtLwwJJLJbqCUEwxPA4xqRPnDl6+EeOJY+wYPSq7MOX2AZdHHUAskNK2nFDGaGPJ7cs393CvbLXCldLN3sPFzrdFPDhlbHp8J5GtFnqd1J7086Pfw5055WmDGSnDAhLHvmgYBZSRznOM37fbnJebxbeat4AhsWSMCSa1znEjGNdIVTEVXNpoDN6W8bRzjktRc8Pbfyv8n2zj5PZ6BRRWYoyYWN2ONuS0wHDUEa+7L1PsBgJgy8h6JY+Mtj0ViDN3F9aH7aKCDzHIl4fNWeMrxesVgxMW3MyrbWoDO32Dctuii1Fvjo9P4v5PZLGJbQMJPdGpPHc2PaJsEpi/b4H6RUKfeefVW6d5HDrj5HWrKDzwKEyivk2xHU6N7WMGWt0g4NbySdytgnEVvDVqzvR3XSRj1wRzhxP8o7X5uBTJX8yfWuH8LbakHYbUB+FQj/3EzIPgrIZuUfCnzUJSFcp0VyC9UByJpC6xwuCx+fNItaD4ZGnXTldUfz5Opz28P/aYNpLQ2zxAx4sSRxN1k3lfsTJ5UR58UPYWUOC3CuQCepgorrnPs7n2Ynt/zZWyO7TOo78gdI7Uea+o2dqjF5FMqGRpdGm9G0ZeCliPbe43f/libFwiJtSpfNXYe2ril+aKsqFbaem+n7kpF8quWdWUMpMx22ukIzozEOC4ERz5pAEthY1pBROG6zJPnOjjM9VdNAVG6gex4SoTbVajfal07f+S+V8FMZ4pZSf+KUz8aAMqRJNNU4wrlhg41SYM9UmrtU8RoAokPIGzcdAeeh2Y3GHy7qAU/kSux+ibma/6yNeUYUE+f7ZrS/sOJ5Z7hLNSBlZSxQJKksFMiqr9YLpdozGehbCZHe6IBCpL94HBzYJRBReRiM64UUXtV+n9AsGm1eQb1Q2sYe7Bgego+qwn5kWwOoOYIV7y8pyayMxC4F7Swly82M/OSvzR2gqcr/JtYFZltfspRbVEiB+qlqajD+RKyR42tx6uHZLLlxVFtofRtTU/ng/gPErLBdZied1IoURC6WsyQsKSUHW9IbQDNfFb4sJxjUycNiu1fuy1Q6OrPw6349P5WZa5KV4zHjInU16wmc+y91M94SuD+8YqZSgxYtqID/BA7wEN4VNsUbg9IINBLnv59sHDNBs2oqaKRpBIIxaMR7sFyvspCrun32QyOfPR4UA6yYMV67UUnaVCJYuWBxLmRkRVchAYolKduhiOAPk1FDy9J0Vj7bc//E7KhuSsQIbg27Tr7G5Ti5EudtnzFq5VMiNoW3gm+pM/BtuWRThE8e5qWHYhM+wIoQo7mlQKNrbmb6I7Ail1Ucgho3DW1aKc8dXwnmhva6f1RyaPPsDZzx1hxUmCNAt81cGhjkqQh/5RLILEifqdyV6UmiLT8QkAkI76FUGTpuOkg+tgunlCo6djCQhhsEtIZNWkPxErjEZ6U51zHFWVKTrcTawnif6aIbz/IESp/Fiu1qwzT2s0DUmhfkEhS7glGn04cunqRG2MKexS4kcn5cr51LaIzp07FOHYndIATPbthVCPg5rL99C0VG5Lv0V/deBvD/oiFZ/Xfrs+xvHGeo4tHlecCenBNFgpMzXY/u/E7ShQ2YE+yUUfcOPR69A2Hu+JKHNlHiCOec975efuMCLv451N2ntgNthkA/MeiE5AjpVAbEYZzH4em8+GBEEOD6srGue0ih/mCCEcm7BKs/7zCPQmDqoXNOtLT7wF+LlG96V9dhbF0PnKUmq8kIM7mWr8l0A+sz+YSH5v7JVWy4/c4Y3OQ1E1EthjJBNrKWEUBY5LRAd2DM09emRYz7rEQdDi6LdL3a/Lcu6t2CXHxpiiD0G7I9stmJlD1JFJ7JfBy36aeCCTGM5LmVqCH81tOl5d5ItK5V8AzOQUIJr8i3l3i9NisqQxGCRKWeKL0t8BEK/xbFT3iK89s9wWimFgqkwEDDTQBm2gxlkxBC/DdftuFcnDDsEoGG7uRRWrHqWr9gSMHpcTW6lzsQ7+Y7folXL5020rmc0n2cY8JSMZcQMNyGMMi5jJgCj8u6yMz08YTo7iW7+31nSmuU1nAy2Z1OTwaQqG8Qj1H7/xLgePfrptNjOv9LqOPT4UrICnkJvD4zMDWjc8KsHyMrSHfMA1xWWdk3GBAB07XqZP1SFRmD6eFaRfZ42/IGIXejFqwtA7kxcNwPHRNdOVb7ii6af0V/zVqJCRYY8HAlX8INycqG7ugy9/+zCxbKBjm5ueofbWPrZc6bvXrg+pPGXxDXfjagWnUE54xbzv5YuPTC42WSeuPJh5EAuqhowlpEITBt2nzGNpQP8xYSN3Pekn2ms8QqS8qgT3YiSHcl79xTWQ76P8hW4NbS0gjvH9wtUQzrkvtIABuR+WAvUX0CBBHpu2vyOIw6zJ+N/WXYXLNh7VaX82gTOJEav1I5xKc4T9rj2tpB7o8Dbinaoc30ardvJEPCYftC9sg8rFXAOnWLbUMpw1imoRFNT94d89tcMFwoDSi6tfCvigGMuK2UR+inwIgInLg86508hAtqX+7z5sH0kYVLuc8+frQbdYHuDtH2PUKUZc3qinsYKclVsQzHWc2Vv3f0vGk8PPVGh8cuBZjAs5OpNLJK9H79aALJH3eycmDmOkUKDHXy2WDBpGhXd2VIORvFy22VTG6PHwY7Cb5BXfSBcN1U9xwOlqngrZbbzyxPs0XM8WJdsIoqzP+w/vTO9TP8H8iCiAAUVKkvcouLLbAjQWu5DJuFO1jA2Ey0V4c6SDd+d3wqMqCJDcbbkQIMa5YZYKHB9HceBQTwgKrd97yKq1JDBPrvBmxGQcFOM8WKQrjfFjdE16Ed8c+wZIWQCKTtqdZ1Av+hc4R3WwdBnj9kUY4gQwovc+dfueDYQZbtNxFc6+XJ700T5m9k/xejhvsb3gxH/4u+RlyW6gx3OjWj0vngWqdOz8YzTc9Dn07zORUu/h2a/e6tsk6JIWoeWCyKMxVfv/O13Nz1m+e7s37sVELCkOQrtURY01BF5XZkSdGUUaM2uiWHcQpgE+d4fynnxlxfnBYiL7IfOU2JLfhfppQhd7I3goqf3J4SbvBBXrpuMC4Q00pmZ8I4XqNEfPNECXTePM7C51o5Mo6c9VufU50Gqrv3oywz6hS6A70+BdV5/5BRkpQmIzx8YEPhGZVpsfMYvR4nQWYActCZC8tyFSlcsz/udVE5NPMRJIDoPsAOtYlmPL8DyiELO3V7/hc8zDqXpkw8hfimX4LXYswU72Nz08etgKs8FGPtVm1r1rc2HDHT8PxFeXZpqc4aojSi0a11CtTHtSTsG2w6Tlfkx8An34sZzodPBGanJqGCW+C4Z/6/3AvQlh4aX16MTS0JrJi6jOjLBNam+SUQ7bGD4g6OWFysQIRg8x+jew/KGIYa3reaQEGzVwrP8LX+9VFs+yH87FnqwYtL1128ofnGIQRaoVU8m3gWtgrNNAY3XzPShHEvEUO5g+HSXrmKO/OErx9vTrGSijCyDVQmqYIUCdrz0TX4dnLBZR1M0zj7dYCJiTECJr49Ni8o5FSyB0TF7XFFQ4uZ3GSeOpuOo9sPVGPKlcnvFlI7V8YjHkV4Tyzgw3NCi4fDix6juwudTo7V7u3vzdVfy3A10IqPX2sb0jhxoTdGK9kBOW3f4PrGvjD6b/2/fnIuTDq6fSD8i3ICoJAoImfkhO9r5qN36tf++XhI4Q/Utg8O2AayK88/yzC7z5DU1SrT7EKFw4nhgbbyuXYsv55Mvf5GIEsCCRi5qaMvfJhkQRgvzJ8OnvpUme30FyIoN1+BAABD8/ljJ4soMiCfL6nOGru+dQQZXcbWmQBw/sxim12XWgQ/I+MVRJBGp+jB3j/kTrUbyKp8rYAM7uT9aq1rCTKhoGGI38+R/yfQFzGI6S/lH7uiuEvZ178aqTpHrorFFatN3kjEnQEB8nHdF9n2GU9vC3n4VX6skVJaV4BGr9QH0dpu8RGf5hFfUw23PG+jD/o6OWZZ8RXDaOf5Na4pAD7TSAoVMPv5ozW/Wz7Si9C326yZgIwXYA8bQI5lpeqbPBSGd+TU8BuxkQUo0ZzgoPt6dAUWhfBXGNLH24K5ZFf0yIade/lE/LttajCaRw5J8FKnXXPcM+IH8xf31aTfQUpWX7/MbLro0SMfwmwO0xWdrczDnZsmt59cktjjB7Rg0qD/qrEYz0t41s8OU/V3yCnpr/Qy5pyVohNfmqUWV1HGvMMyl82OwethP32iy8LMDrJ4nr/SEqFWa6OiJ7a5LLaDrqOfzbgRxLWrMt/+lYouMOpeBTriTfgBWRbKXoPF8KS/xMmGEGtOHUQzMTF/IugQCBjyC6XwQv/aEExw2413T4k3kmeYT0/Hnw61CsyUNy6QJZogGusc/Uxf78bXXQ7I86RXZLmFzK6Mc1EMctAVDzoxNA3vWXdnSnW2OZd6ac+CFa0O2QAuYy6cvc3h0AFO2XLxK7Kv/6gJx+WaCN8E9F2mkG1p2IV/Cf0s7+V29T35ijPb3BwbM6QP2UudAr5wf5KE3xMrsx8KDcEXHp7gRiH/033IaaybW+CZE0Vm6buW7hkmr5dQBDHA7Ny5pMy5LzaetGIfESjk41p3FQumrSSk39cnHfHJhScVDdxc5bonWvf16yB3N/hn1wQcHng81gIDBprI4fV7j3oirTftgklx8hISrm0znoh2aTldHz1/76/uuC0WqjMKYtePPa1WcjLwwZ6124pO1935sRH/jo6X5I51bKq69ythRG8/VnBuBQifWpWLXpbHSm+QC6pRYExknV9PN3ema7fu7kTHXxZiTYeFi2r1enlj9U4dwMTVnJnB5p6Jg6k8sBmR1/bTVUysoU/CJ5Id4g3atpYLCA2EgIZtEZj0oniJ+I3leQe9dmNCDlGUNzPYnQAKwJl/LOp7Yq+zYBxXzbgKaELwhSaQn+L42AQ/swniOpsFN49LS4IImxhR2N5UbzbuSDEzE93kgX0NANhHpyK1T2QlkbXDw4rpctefRXiqLJyrduK5g5vo8XRdtAR7nf+iRWo8YL2htRCx/iAPXBgjCkF0oVQPxCOvKwbmwTJKdYiAEJ0VskziiFdcEiALTwcyAFZ5zw2oZW5W6972/FyeBjoLAnF9bgrj0UBTa59WHWBn4JyNbFuc0oexU1MwNpkvQ2sWpifFfQ2mbqoaMRxMim7F0NwWbsIouJ77NPio94K0xZ8p1B41n2tAak6yiEMEVnx4md7ed0FoYkwmCHMCu9ekCGfRyySCBSUZvE1oSB1rDAuz6JwZp157gRZDnj3pDY5m3aciAsGddIKfRv3yLKRU+GXAAyPYNTS/Py4Pm70KtbfrAg1L4Ut8wBDXvdg8CyUb2gkEAnRybpz0k4wpzHpfyZoEJswzOY+YiCFE8bhIZtXxFcBNxrbWaITg1KXI6p+V7Udu03hCq93zlXSJGZdjUi6krKJhPmfxkrPK5KU796Nb2BA0sxqfK4qNu+4We+ULNM2t8uta9PFfzkCVH6PR2W4LlFhhF1TlQXXam741qjrG6X0fkv4EFERiJXgxj4q2tVs0Zk2AeKKJDxA3moIYY2FLXldQWu0WMOv72OIT04xQNP29Md2uay1bqjJe3KItznVJYDoGnd4NjY+/KPpM5juuOM8q807Z3uwF3+fO9XBVBIvuE9bpzEGwfpFiegeDBqXv//9ukx4n/b7HnxCfmLUgs6umoqZQ2amjEg+OKf2prYlEPNu2C3Qsi70HBnC5eLCDcdFek+mEA0sPMP6sih6kmaVZ2uNqis/uucAvDLvzKH7jMYhWJQdxNFNmkdKV36JpxiR8h0qOyboJFCKgbm/AHAckRXNuWoyIhg8L5ZVmyZZT/QNzKMIA4kPJZnR3pFZL7k/rBq1SNCrT5i9EJj0r7sUii6vn7CiVpVx6z7XXKEQyKs7fp6nH9AUjhCYm5VaQBwJ+6JzqCBVznzBftnNU2peEeYLdxB3J4wT8pj7c3ed+9S4UURxqch3s9pr6eUNbj5ndrCKC/fX+9EgqmGkm81LuE+dUoHs5/uwilsuRrViWUjkUGhiddeDb/oqOQjdkBBmlajHGNzyf4RX+m+jGs0M3QuF0HGnjqs6sUTz3XK3kae1u9Zs0jQDcCqVvKo1zAzs8fbkEhXg8Wyt2D7+Xlnd9ZQ9ixwcBGMa4XfO+cup03kHiv25JDSnDyKP6pbFXRDxTzejXjeokWGPQC3t+TSss+8vv0K6ITxEYqWSFLFmERQ+MD9Dz+TkwptO1IrTWqqqm94kTgD+dPvXhnjeGPRuQskOGskd3W9p5LrkQ6kNuINX4Jy/KjlJuXEu7PnB3Sdwst/MQlut4gYKbjcAazZ9LPacn6LyrXYTgs23b7uISIPim7abqOpVuMd+bxxgEGLKfAzqkdDYJTbJ8Fc/wNZnIvloKOL77cdJVQUwt0v3PCgLyfpzFseAQAvWvRBltbULbyI6yKbIwgdm+3397Pji5ihzYuASahe1LPA5o3noddzh/4aNf03jpKGCfGI7FJrAYYDQcg1qunpkixVqxkDRoOYRTP/VBgZKXDoojmRXTnNLCthJy21u6W5y+MHYKNxFlkfczBF8JnRcs59MNvsk9hvgat/zMTrLurVq3J04XVHPu9R3tMOfLqEHnCZOl4YVzhjM1QggyK1zcVVCyl7EHQkR1pH6X/D81A+xBoqOAnOa0pIi/r934E63rneOzFpCYWFtx1p9Vk3qfH8j1CzLKQfjP/vgzRBSUywWvbol4MJmktfHJDBbnoL0mI2JM/kcg0v8leAN1OMRBIwVFiMoDvK/pirceLHSxTBoLCTCv234Im6/rk3FEBrrBqjI13i2IRSssNYeiguiWFgod5a8NZKJhQCYLb3cIT4AzkH8BVZosI6cB59ucUfjCUbfclT+Zn4pncxyFjhj2/mpeYHfQlp6fDX8J54Ka4YChnJKyV7fIitURi79NdK1fj961bkcikG/cYGk6jhaKnWVnPFndyfFudsfx4gBbHXDHXBWJK2LbXSOSEldcqSslJgregOxV7H69bA87c1heRPa0gq3NtFDICKgnvNmpdvdWgqH2lRmqQAE73313WxHuj3nrz7bibP1iwQrHN0iSM7qKoFDYYdc9ATbbtv7GjV4UAUQfHSAKs2/QxFWwApF1/QOEICz8wDYW6B3OsOeEUck2ej7ivEuNbdJaYSRNCi1AmeBZoJPoH/dDVU7ZakhRiSyaasIQSSYxopIxyM60xcG7jlMjAameTMgLK0YQV9wNBjL5963wyQUI/AIvNcsPQOjTLDfrQcBPp6gptGD2Trg2XbvvkiX+LtnDhtzMaVNDiTU1zHmbT5264wsjyvEThoKDcu0TMlT4euZVUxCL8FvXkoET5yNw2ql5iui2B0tMyaUtucmgGbKHzP6FL/7MmTPxF+Dj6oF5tLXwDZ3AaCwXYVbUYri2prh9w1VyplmdLiV0DNYtOVOWGCGbSdu6QUuo5vwGJTv+N9YzBb8r7c2sOyVAaryz1HEPElhWER2b8ooJ0ObdCrv2XTfFlGSFbSTD2AcIcKsuRLOeNDLM0LL07JUE/cXtfXJCnctTGWUoNhaw0kECJ0kFAMHxWwfo0yhmBXwo7ZVQLjUHdGfLIuldrnjbi+LlY4FJ8xLfSwrNO7+gJOw3gm8Lmq2d5938BHZcVe1Jb8IqaDP/IS2LeMHd2cNaojuUxZWiimJMt04oKez+Ppw91/CQrgyw/mVcisFY8+1f+FeDUydS3Z3g0xgbDxI9sQ1ig+oEFY8oWPg9O3k3V0dE4Tp1Mvizx/yWLn0+GNd4bWvqDMd9aqA4ze3KGu1qNluMNkCALQX1IYqcJOHH99BzTsuvUJ28M5yhjuQeZIKdMtaZLRzHxifDYdBcY+Gn0OZk0L+bMBAvmbqn28QU8LDhT9/MjtDom8NEo3YBmf9+c4+YiFMubP9rsDzvNMNbHM0GsvMKWdn+cs9CdV8QYhij2bxyqt8frT5SO6TsgSGrdo7uzbMIfmk4dGhsoR79LsfDbpJ3L+O3bPElOroXgSAaO6gxW0zTRpwJ93HJU9UmLR8dWrMwfPYEf7ier88vltZftyOwwI3XcvNcl+yrA0PzBv+PUkyKFz9NsqSJ2VGOLOffXecNNNKFjXBe1Xe9+rWeCH7nVLicQTIn0ZpvWf34Z2t25y7Q3kdfdQkk1bBnF33fL0fmSGr0M2kx3DCfBpAe2MojfhAurYKu4Lzdb+RCE+aIDuJk9WwtjeI9Bzc9EItizjJ8+OX5Sn/9Vrf2qESYcedUWMvtoyKnBjhk8FzwXghIjRbjXsTYpYpi5y8qc0fojhOdFcSK7UcU38mpZZlojV+qpbyamTANhCL+Z9KjdDZhByP+WMKc93llQ8HLbE3ztvbs82T5zGqgaJ9qxlVMu1WPdATI0XNUJZhhHknNtjXyxSXnwzr3uEfaVGjLN4uDkB/Esh07yXipKBLB9fCKeKjEaFOEoVG5Buc76gQVmKKgLqTiK9Dps1lm8EFGfSw50YAt4UuYiu0tWageFhyxSoCZMb4o7J6rqKI+10NRbC6yhFZt4Z7EVdodSuYVsZONjs/UEH33u6wR1t/cEjMDa9Ipuqyr+tyy9fnO+OrEj0PmpNvXBcVsyMKhC8ArK4C0H6/gg4cd9TxQH9pNJoeqyv575rxM9UVXmQCMMlBm996PQVIJIp6YwxlSMEg3oTWJDKTePxs3V84pizba8J+PJebh9oplwHPvYBshWOZ8om5MqB9jPyPGqsY4wOS5jkEbx/Isyob/dzf5ln85IE2GX5//JEH52Bf05W1L1BPtWjiKjmIrfCzCl2qtREFg90YjoUqfteWBbUxqVmHBtmSXlJhw/56p0fCzOuoY3R+IG47M9gBaltf2YZ+gP6kyIYhJZf7MlLomsJFLqGG6D8kN45bXRKBZGBmreI7Ra0eoJFVorILAde7bYQVaixy0+HG1KPEz/E9t6WPTXgyBxvA86KLVs6EW/5xNJ+6mA3A3Qubaz4E6S76BJEizQUoS6CDPXThnO+Xm7Lo20Yj3cOx+pP9RSXBtKpUpoulhcRuvvQ6h4/CUu86ijXwOOPxjf7zwGGwXg18c/30fjNWUeVLfp6mYSSubcJr4WstjsIHOtrDq7GBebEDv/n3zQ+dOnPmk7oZ110AlDmwvJdb+t+eJRFD2RcYMGAq9dxLhblrjRSHz4Ej6zd0dx6BB99luRkCObIUEwsv8x4JlGf88bYsxyqsPOVVw4y7XNx9FnCj2uFJDZPkS+YCvIeivU3aMuCuuZPIdTpd7TqMpw4q5SISWGAdQrKEk6S7G0K/5kljSVv9iNpM1hSaHWRF789a7ffrtFr0nxg3xjVjuc9pU92An5l3jOP9uLXlgelYs+jPIYAktvPw40P+5YWnyJQCjiU4+x4sTY8wGpU14n/Q/y1i1fWQ/chNTRMmbdxW6atP+hp32R9EZPSBDj+QfvZ7nyd7S9ybBMYBpgmaT8C0BHwlkmQpQ6Yp/X8o/ohmdT7cPDOrV32HZKoADq6VcDXY0HVWy+Ls/L8Pf8Ws7l2D7+lt6xFhe0qH2xGKZbT1zMRdAH7pmw3C+KmH/EGisquJfuvoEZUNRBdXub97TyFfk+xfk/Ssyebj9lhE7bInYUvaw6DFC7XK4rgk4Eq1n7adUBHz5Qnw0BNd3Ko35Bhnr+9qmHGb/49B1iSmAlssBWzPTzf9tP+J2JWrpnfWibUmOXRYpaxvthnj5EgUz5rfDd8lbotXWjWFIl1eRW1s/wNW5wQ/HYxd4hUNNppK7cl5fESHzBhC3Mr9uYPrUPS0cAIZBjB+Z2ew/ybquKx+DRDthTrZhx1nErO85ZPUsHWtEjQJZwRkvFs3lpuHpWc20ghkZwi+BtPuuZq9Z+eQ/Kvm2nYiiFZtnr1YF/MyzBvgn2jLNpip8yEbwhwF8o/0mwKHVY9h1XnnZbVQD0Kneu6JU75XEQIaAgx97Pu6aNYEQkieHSwu2Zpb8Bhd2/2fq8/2zTojbbgkhsZS87/iYqVY0xeais0gkE39eBVO/FqeHr7JUYqd5FmXEVuouMWrhUVl4P5RAV2xRNynkYwizbAz0050jVyiqCAq9y9/TECBxNLYNiEx9cyQwG+CDfIbyMlplHSuKzzgh8rNcp2ru18v5c7nO3MSFT0x8yzH13WioRmJyZs+zWbsUQqx62YzsYhmZUcd9VB69TZFKic5/cJJpioF0q4XzunPbCVlgGDg3kDzjlz1YpLBJkb3M4tr3KsJvIvtX9ScQED+S6Zh6w1TJFHanJKg02RMpTdSpASX+pxNkAWofCEE85PYnBSBHe3FxfQWUwpXCwpLXkBFqCT+rjmVnjdql2oI9WBp8BD+KDQv/gdrjV67wDZ7fDnUAT4Sz0Ow8pzaY/UzN268fu5G4wtipv8GFqJy2ufX+khiNS/VMV0fyUURJPu9eO/yTU8rVKKE6NXbUD+VVk5zoK+c3iDww0fs9wrPoPvrZcBUuWbxNQ07aDd2UDpts5UW3zDgbxVCrk0KmClvyQy9kbmt4yB4z+VlZyQwSSPkTVFZ+jzkDaZ/aGJbackRqiXB/oiwGljBHn6DRGDhtiAsAC5Us7986EEljqsCzRGAUrGPP5kAjiGwBVs19/yUv/ZFX7yEVYpCIIq9rL2ibepLoNVSLpaLz9INO87dmqWULIQYRVB/MZ0oZ1K8A+143KypjRaF5mbvLHXD8LhR0FyHEzLYdszxHU9qTXfqRRsC6g8JpSNEOp1oJRxV/L8r925JNSU0elcIypAnEpfPROVAoFz4qUZ6Wb4L2vOnxxfVJNHHQJ9G/6nM6yBorpGmcmh6wdLXIrQFp3uOfc1ch5ox2FWFjW87wkARadBVMC+8oGWmeJ5teuGJdHmiimABE4fUKLIg+W1uaYgfG/syw9lrrcaquaf1byfQIjZQwZKGiEon1LGCuVIKv0CNi7CjMlmoE/bm23f0BUeAx84MLfm6Alk3kvag9zyqrp3+HTpKwQosuutrUnL5fLXg8Pd+LFJsKlVFqra0blQVbXPzmgq0K6aF1J/cVWRt0g1w9aX3sRjxiJ4qT/9bLx4MZD0aP1u55ZjOpleFrpJcms+C+f1MQzg/eiNoD/sjk8hRhGLqA8bA8W74S2SFBe/OhsSgUNoRRbB2gTjsq2RdBymw8+QD3JepTZnBPdC0SW7kQIpa/pwMXeewS066M4Irkn7VQBx7fpMzeZT3ywVg7Y9/ZBznzx/Xi3vmsYL2kPS+sNfX9qoIkHr4ekpxFGLgBN24mU4RlyAyCDlGxuyO7A/BLmBGl5n4jqxooGrWfaDciyBeVjOtvttKdQZZVtXskxdxeeeD1LfT02DzrloIVVa6RRWTNZ+GTb98tpom7Nc6kM7qZJnWonS9U1TsvljcfSxKSEATmYTUSrCrXa1w7UlKW1dYCteANdL03RDiceFrFXLsrNf3Vof/wgFCoxeSfucdx1pLv3TEUlxbMkFyC0pcpEMGJtn7tn2fDVH+TAiEVforuVb7vIxExKczU9AnWb4/KEGoDFpArHfKDhoYzcnUqJM6mjDRTF0+AxVZFeWz4Y/Z4+HlcqX6XlWH4C0Gk+Q7WiRN31EgVGJ2sgnwh/eA4RhDuyuqP1Dzqcoiz3l6eLhtDbF4VoBX4J7bbmNuhzaEBzcI7GRhgX6Fi2NVuIJNZGr8KaR4hrkS1pauFOaq1zwaOJmQWjqyR9Puv904O6t/SX8S5pUQH0L4W/lBl/k9rLeYgwGWYGO5YUmGJCfq+alQT84anjt4IFKU+7Xsnkp2nqzRS4+CKEN2KlQCwExeWcgh0gB+uMal3JvzU2TlNG1qPjBb1qtRSW65qP48hyCPwX36HoxZIplGZW41EMsLp7IXSSIo0syOaRvEVTJn8oriiMmIZPQB4NxLsly/OEr/LhNcPxW7wipvPde0unehShCvx9rwp9EdFTBSmIc8d4FzBTcu3b0ZLKfBTs6MeHFsG3nAbm+CjhyEbsex94l+oToTZbD8dw1yv1Ynbo+FcB2juv8VLS3HALSfcyQmySIRX/6J1w0APcXmuBRY3nsUK05lzGPKXOTqSWyAgzHyToO+lkzsDX4PXd/uPOORdM5hh9ROLc8/IqQ1mIZbB8MoWkPww0mQQ3ybXUHpgnzFi5thNQsdTZOA1NM6CjX8MytnPmM1cgU1Ufz6jki1ZcHRR4f1qbR8YkCo842XVlpYC5qV0C4BQZPjmoZPHlfV27GgFlyfDarZAbhHXyGsOcwKRgINgcJPn6VL/djl4wHRt3nODu6crhXa+FFh8XMVhtYc5q88mGO+NePoupHcCOfMkNUhK2AG3IEuKyGbrPLXMrtFFCS95G2UHY4SB4hrddX+xOqGaXsELIUhpq+j920u3yeMDj3cyZBTCkwSXyQG+gG9t8hZt1sFw1tCWCTctx6G67MaToMU1sxJxI3tJuVCe0DUT9at8WTHv4xpOqTJo/Cu4TiWaYDdeuP7bSjBxIhveF0amkf+pbOtT+4u6l5ZdniSqd1JMRoBcLoyA3y4le9xcJWk2oEi9/dCiD3r5I/RybUj9Td/5wlOU9q0gp2uGK9cXBGZ20cwDH4hBVp48v69WbE0Ro0/lXiKru2G9JIt2HZaYSTRocb94LlYrZvXljikgjEIL8sBsagbuFBSUdl1pCSXHZ79jZvQDKfq8I+4YsCnOWrv5GbemhZw85b83O5tCqqfJGxS6IbhnVJxAUy5xBCvk8Ja+GgmcI5b1cQBqoYFxWzN8OBtpgTuy35qW5orZF2gs/R59o7g4iG3fh+x+uyh6yvJpt5kjXpPuqGxNit954TgbSlMrx9nJZkkTSwogwrOYd9CIIoO2CCbScpBzOhYqlPtNiTbP6mjvts5XXs4MBPuM0jSC2f+PtfN0cgoinoFuk2cUyr+uzu3H5U/zvRwxMKx/ISKIrs4Nuif2DTehb/mnkVjato1juHjsFy+zeW8RY/eqG7p6+1/kOZQ/xd8YZkb6y7tB4FTzsRbnKtEjhieg6xtsvyAt5g5NV43k280TverI5FEiqIiSzufaCXtjYpEomkIHrncTVvnrBzdxZ1qRQOdlTdCPKCQHcq0xFKIRhIHFpBx3mxtCPkvuVuNGioS5iRmGIOM7ORgxOZPubLKyvb0Rcx5Q7dsUol6hNSaq8RXxUkFM3NP6vJ0hgPZ3Ua+7YP0hj02bhYVj3AUjFnh02dN+gIssZviubOvE+ldiY4vSpFORjCQBBLxeqPvEodHv4skbGuI1P3o3TrAOo9DMAR+8JzcDRmtOL/NsSJdelvgPmUDWH5BX2NOyDcQOM7SdWOVEskRCbYuwbCZMmzTpUzy80EsyRuK0pTms3DLFnCBkwgvNqmHWdrpRXdxZMDuM/qd9Pv/c0G9ZKF/na9Ggc2akYsW8L+wXJzrGTkWrFQrnxclYuE3MyqdDjZCxtqPBQu8BXveKT8mIhNAweNEhO+M6+BiEDhl1HhsjXp/lxebF2K7mHQyQePbT0aYtZ8v2X9OU3/VjbFWJw+x48JjsIx0/JL5Vzu6MakE5hNjHTuwmPa1uDTGTLSv4OPjtjLe1RoPJ4ep+2wLPPiQnpStDFnDLe3huVw+LjHna54e6FPy8Epw/VCdmFPhkhoUP5icWwDwbbh+H1bcJatXQzXOMfFGsI+wnonqAleiBky/h3Og72h0oXp8JGueRjXDOQxWpLf4GOfRd3i2C8MxTRMA4H23592WJQPUHlnD5axb96I/GO/yc83usRn4OO75e1oimDOE+KNuFO4XxDFdrotwE7onfTciRVeWnAPIuURpeUmt2EsFpFOUGp7wTqDYJajv2Ur3OAjl9yDw5JAZPbvAuYZTxWDkLm8IZW/fcfhOIoSyFJzkVPwMO5xZf39tm8jntAi5NQ0BHWllXahbNF25Y8Ox4J7lA0l+JgaPu9XOngkJ9MsfGLsXB7Gj4CD1sI9jpgHJMD9f12MM4rPIM/bvnMHvhpc9WOT21BdV6Ec8HLiJQVBl8vyIqw+5s122t/yXKfOjsCgUjTrYYZDkjDp1CbMcYc8t254FuehIC/vpz6bCrc0YfK54bXCTCnkGHEHjX0atM1iHS9ftm4WU+yBPRJBgf8HXixjMCxQlegLOTA/vZeFKZk8XUsKaqQ2qDBc/N+CULAOPRancS24459YrEHQ7zZLCgM2r3nuDIW82OqsMk4ItVJI6XhdqnnmY6CvJBsiAnRCpaAevUZeJQnMgLg1e1fxh03u6PQsn4fefoyiUNwqfXVt7ajlgk2Pw7f+8NEYPuuO91Xd3pLfDNYPbLcE2z/23IEnSPCS1z/k9Bm8bl4RvOcEiIYqaMagswgZXg0G4sYW5M3e+9G1g1mg4dbNrCGRNx4DxSsqz0pq9Zb+rYGRdYf8/UTRPCk5uZdMOHaRofMCFVcDYtLBqYc2Y4QaII/Wsq6ITaqIrZi2IeU3yHCEBe/2sZU4j0QoLQSoKfuMkoJCg+1tnP1465StU58IggF1E1diuLgZ4NSygDR0+RniYQoiqr4khhgwP+NkV08mUeoGvtG6uEeVXQH/5QhE/QxsmSzh8rV2RINYkR49t1QzlZXI/wZN/sYMfQJC52dy++LKLLO9PMPDOTkwdhT4N/wBYsQEZHr8bsBUJJGNlqteV8WFp7pmHdefhtVoczQ0x5dUIW3gOQge710SjW/FmNaBo4rghG1cez/oMYzxdTReU/W16FvY20YHfClfT2JBjw1rl+Df/1VzVQuuU59cRK+MKGe7V/1Q9cB7vm3hmeoCMvpUqOayx4CH/NC+yvrr5X1NZ+GXn1l3avgbn5nyXnF8RY3UhQGlJDLWyWtQXILvJa0l9QYu81+AvNROYwwMTTvsTzq9llVRjADfRAkg9SzQe/bopYAXgv7VEsCOZzWyXyJuJ5KfKgD6QCDoKZYbbu0613caLaKtirGh8raeRSYqC9Bj3m4/LwUFn6v/I7TQoOc7ADpiFcwY6uWNaDfoUvh4RJHdMOMpvzWJSMLMwUPpyb/4OYaLsBbnXoEYcB/fxxQmyO+Hmg8rQiIMTXHYi62TCKT+xwMVkAoZGBUgSk8wtXQ72kVrIqYk2PeuSXknXzfxibaf2V4Tx+0hilO94CxrBltGO/k7zteCpQxOFPAqOqMXMD9VkguSOHooi7Ivn/FuBwHMAoChPYxPcROeOP3mRADd5hQHRvD3YYRYZkr//g8VtTG1sJ4ZZRc2QdwYveoL06StufUtAczOMsx9s/ckbfIIW7jzF7+9LfiO9+2CCPPes1hQTYUTa6r/FLjE6FzCuB1FPcZIVcv95wJaHJD9r/gdBnktJGAzgLsWyR+ROMV/owTG5wS+8ItB6XcdH9KYmSWa+qwCNQ/hi0+E8HZ8FPyBqFTqsSqDZNrYuFZAAVt67TQ4XFW7yfCT8ysk+11x35eKdJmkXmX2vCEJsWlZgXt4LaECBqNxrh6GfR+Rt1gmDwJAIqNIcEQWStfw8kNtvO4bVDOJuUXBDjZoyrT90xOyQa3Qe6dL5iFsBZL01toMciDHT1IFpJ7tDRl518Rp2D3f1j+/e9J3DsebD6J4aiOz/5KrsMojgYnidkeRvaF5/l34PlBC/i1K0Zq1SBUimcAPH4d5We/WvSuIhcQtVSRR9JaTiuhf6olUpSaMXveqze3Z1jAL/FOfDpe6nCRCVknP6lwN+yf5n9aswi5HwsyDnul2nGgjiXspbsmFP8ldovVAHwilFtdY8w5VjYJwJNKvjf7a5U8KnVfMRFFkU4ySdXP+IFnsvRIcLblvrDK5nHGDey9lxR4HZNvGLl+W7Grz0/cX/awJ1Qji4b+ex18ipteDc2BAnJTRBstJDy2EZlG+pF4ISz/zxTQSdGYuWN3aDhZhNCqtmFmbdUkaX126V+zj6wC+CoSnP2iYH089pIi4yC4twxjuwL4Qwq9WZsnsEheykKDlHHmxNuCg3Ro4ism8IWEfT8tX2GCZj98XJwmNbuydr9HU0hj4SO9l5E5jtxU/jaIJ44pmVRnmTSZhOse0gx58vHOBi+qjWSvmrOwh/drokW7SQ0VwKuTe1G0qEnAH3+5bjk/Hll64oE6OErUmKDylFW8+PwNgKX4RoYtXc48I9sSl04ocBZFmR/eYUMlVsgjMaw1eC7mzw/VupvfdiG0gLRSTxQw2GyveL24Q2ZnPSplt9RAwA78yaWrAmLgFxWhIaRmD48zAKkGVjz/X460pti9Vv1sZXim7iGL2iSUuz/XxYqODSL9WvrHKZwUlZqfhPY6UsNMOw9wNYx1GsoL6O8sk3i5LYq3bXYnEhI6wcqavVqzMGzhSk1LYGO1OC3QKPG83IVlya20t7eHldfFSZRiEdn2zuAq9lj5Cy0XLJUM2dfvTfXRWMi1g7parOXiXXZMmbYXM5pVl0JplpxTEQ/K9hXTdvl/UzfwhfKpbOSPJ/RgRqRhRlQvlP4XZc+lOB89Nsh6ZWwvmJ8jLh0Kk4bQ323wwYgQ7+CSLsTxpeI4/a8EEd/+QxMybAyqc65fX4rvWIEtIC8+wl2alKZZWwMkeOvm9Y0DmzPJpmzzQQce11m7EjoSvKA22exluP7PCTJ0K8yQMp2jZng4gWStDmTboo+U+4D4VYqbTijzOI3NHqdZW2maD1TdA2YQLzYVE9XvHM3GtW2h1VK60OOKtktqHe0yuRwdsU7NCJ+LpHVJbuGFq/Ew+ssAEyXQJcqRKxcep45tTqqIxrCzb3HqoBF78RLuC6/LanrIBkS8Yv3zBllLo0zJVXBbo1lN5SUxHJ1t3Ue/rpLw1//eYoMK+W1hjOt8kb5Eb3GMdMRaqOWjeCy6TpOYt9LhGIbeUqu1r0d3nqHFJzwdXBosVHPKO7WL4PcLZsDpeasvN2atMiy+PZxmS5ZbxH1Lij7Vw4YXSDXGdo/cbKbKwEsrVa6ojBD9GKSQZXcT+Ds0e9ZCsQNPSVQnKRm46CceLAZQ1QXFu+1Hznttb8VDvSwRAnQUUgdGuIfVW5G89iNC8qg2/OTPYrKK0Lp3xOgEFVNjAgmYBf1+HqRpZFatvDi1Mi+LZHmRP5dE8XvtxloKFsCtMMsUG/4akHA+r3806YtGOn0B2bLV28jG7Lk5QlDth+i+6OkeTRIvSveAM+Ae9vDPo+N3yzQje+2Y4eQlSwK4Po0E2bwSNAIBLQ9qdkdspJzth+GNL6h2cn+k86NVWtNsMW89+5WvmVwJwQx7jHg7lwnccn2qMpJ2WYxAYPE+8JtweBUCpdMLa+y0yTuc+lfBdAjGhBdeWEkqAzC9hLWKtbAqd4qc1BhnRrbLxEeqFX4QjPRE/fkBXW9YoxpeZOcCyzxYdriexRxPjnLHKpkpT/dJ+zb7yAa/J+F9sUoBfUMWYuAJxEGZ7wQtF9sE+AEmXnnqVWiX7zcdIwsjz9clNruiKm3NzRlEpAAZxjSnBdA4QduqJxjSo/H5NgbcrxHYbDl2UEeNOX45FlmOLaEfuf6WAq9dOlIld8i8IjCO1R6argvygbIDrWnrLG53FAXeoiHFrG7MKvL6bQ0LFloBTzVYuvlpI5r1RM16HFFACXWH//ztSFjWguPzksf7UKHbaxIVX1qOGcoxpIsDVwA4I6Ez1YYk+OENMDTUOJsJcKeoGl20dD9VTSqGvb1A3doaJtiDebrqLFXvyRf8MVddLTqkJjvbSqZIQUOvO4Rx/+cPAH6mWleTDjOfqdKVCo6mpD4cux9IdN7gSM2Q5CqksycI8uMJchfEOCMEaDTbgcSG9AO4iQmNHkEfP8jgDC855DtFpXC65DLqPlSY3Aw5fKzSEI0GiOZZBMdAKf/puJMth75mfzRlyZEhM7HMoTgdCrr+njxFkNmgYWmfaG+ajo/dW14C8fAE6xGYP2PWfbG/1JPqpSK0b8Z2rQGCHIHn9Ru4aPjwNPBC6LV5ZOrAutoPOC+lxQ0rQcHocVZhV1WnSIDKcqg6ln5DX9dgJlraILjtwmktXOZ+tTdOECNSWcJqcr1J4OeM/YviBEfET0tsqAo5L/T3WDyGVcOunIz7XRl87tmAGajNTAmGGAgFGjbZMj2hWG+o5LwrcRVVwVzKYa0CqukBiLLlefHvfea/LEc73WSbDcRXUdV9WK0ZkJoeG1ywtLZP7/Ei84p0yeEemBJwYmg6LbVOp+2LkcZJWDzBrCu3IgnwCQIin4lXg9vesNBc26r7CYLrgOo3gVJwH8oeUAqPKOmDvj8dE36yaUKHPYRA9UmQjcC0voEV/krhSp1NkhXCK9w5/zW8l50LfLbu8rux5YH70iqKOL0To+ZEamnp9YV0PqoE8Gz5MXnopNgX+1Azlg5B+hgeRtyuOdpf8YxN3/wHsrsaWljMC6YZmg52oxCx83pgfRJCzWmXBKHrUwJ2Fx0NwifyO0WtDAd84cdhXh3vR9cB9NoJ1OItIpCptbfBUhZQ7QXJNBqQj3v5DpvAQPnyQ2IqYFmcwD6KBq9KVJeBoCBA/Fe6w/xcmnsAWes9XbEb3avRZvotZ+XXxpfzyZxDKq35uFa/uSS+sFTHC7Gur18bJf8ybMeFF8w4Mgs+oUTs1uYEYInCBTKYVnZNidzCxLi5h74GYjB+wxWhjjRbIGEVA1A9mStMBzGJXIxmr6xiSr4NYHFjasyj6ulMcBSGgQjkbV643ayospusIlDXZF1gA7Pu1JWKZ2idbz4GzzuiboiR3qYpH7vIW0qxb2JK4ShvpBtKylTBL5+2sAi0j9nwlej7ZCDjvZKL081RD1briP9MZx/keg2VNbf3GV2FMNq2X3jGtBZlnosYeRvd3nw10Ry++ml1lex1K9bUgZD+thI84c2Jfy0DWsyDFDUTPe3dlpVvdidfG/UJZuEA9wNwjntwx2mTI0clIpSFbb3z20twcYxzrYWrCzFXNaWOl8wqEtk9Piu5tk5wsIu0u3Bxc3+SJ2yBAmE/a/NuOtMuoHz44UcDk1WBnlckjQESfxdcLeN7HrdLqPhQdwpMtDnUOUz2giXcKCnDHHDIE5ZErI+Y/6qd7SkwDIJWeay+6fQ5wt3e8zuWEEFBFS9/Zhc0FfJuSNAOLZxRgz+V1dVA74TzJqPaetEso8hqQaLa1/5tfSWh4ySQPFpa+fq6SPgpESyPtKOz5UPZR+UPo8KqygKKC7ewGbKMmBmxNvj71uZSrTeFY8z5OK1pwb7DjSCnE892v18ZWh8ejh6Fes30dgWWqxiYjQqqxotGlsu7E9vVMP7iGvSepYK65hp8x1hWgDArPWz7i6LtbGa3sZBrdFzj2DdfWJSPsrdkA7yD3PgIHZl/k9o92h/hsKJwpPJy6eG7ZxkfOr0rsz7oOGnDYkG99ua5qrE0oObuZNbUSdW2t/+3BuTpfClAk5ulGuKNQxS0xFgeL095ytmK4MybjDFiNVthll1+01p5RwoCQjJd7GIi9w1RJY6JWkirpcN9RRLvXQcuBScRL1I8F2sxoWjaX/CYTP+CpdI0zst1Y9mcgdwo0tJpbOOkMakeTzjBX7FPqbv0aXgLp2oqBDcCIukHB1ZxhJ5LJeRgzAHhzHYvHH0IJBoZkS6yYDL0laYwMxsm38M/XT6k5HwlwZ3pxWdaeujX4umPHL0ynWaKubWpnOTYuHJZQeQg7kDmJu/9yrB/Fqxe0rjXB3YLukvac+Mt4ctOJovzerlEnuB5o+SYw0zDLtdLxS6v7d9fJw+cc4adqu1Rf7YjhCA/4ryO+Lr/mi26ZtyNY3nrwGPGfsXU/HwRzUnAsvsmjJOdNUcfpZQn0MY+faZW9c0lMYNyOPsZw/9z0TF84cNy6Cl+NVHSBZkRxbD4BkpRVhoxGfQp7JFEHOOku62fbGkr9N+Hx+seXYTOmcgeFxpGflBFdY1EoNevkDOGmXWUX9eekLoR5Rt7A3IWhM03IuVpewLuapQCuFVFgwPUmfw2kvcoC9dLzW+YSdfWHRu0Q3y/yuDVdjZIvMXjUw7yBqexcFzoYnwtYi4hsLBn4eQDtslM/wP1Vjt9seRdHNuwQFIyDnn3H9IysHi5kRaYd0aNFGguk7y4lOsGNlatPQ8v5/73JLs+g2kQv/KdkeASDvremqUHlXQmpuvRrUxCzX725bpzvtkdSukEM1cA8sHZmwoszvFWtSr1iG9Qvej5RW3QTmyiWLicoEFHhNgmInWpCJ2sUMkZiSjklVMe56IF5vMP8Jv2y3dP/dcUDfWLIFaTzs+sqSkKgwfSVp5350JFyhq+N/TPoz8yQw+YqN3cSNUvF9a9hdl59VX42shp8i1ZKGK7Ulo/Ml+VTXJTSBJzGTlETdB+u97lEsopehM64bgm/HjxPXD6dfwbQHt+1U2fGeDl/eZiZAyNMyMAPCxTls8FS5WY5szB/3bd5VyyYIXilMKTnp6LlgGlTwP6nel9zKKvZfra70OuQ/RQZwcCDWgYC4TXbL4NWj4v5+UbF+xE9oMI2peiT2nTRK5gWynp5fh2cLA2wxEUi8Ga1iAcA54C5RRCnxa54rLFTcwiNUk8dATYK1/yAhOBPpSJ2TvxXmZg5PAAPk4s/VqidUlyIu5cUH2AAVTiCuxEEHhEZFF8nGxOVbNmk5jzvXfS5krKFkIllLvl38/oaF22NDl61RB0GzU8gmbT+7D/ohxsR+I4ECMDvaGa5hCnVqu7dOdeIEb1iTl/KhSzVo6bnzkUygu0z6P9YXynYiZ/VVZz6OnyDQfAIAutZCgLu5dbn8SsROqZcINPFUUP3sz7s1NVpABrSwZgCn3IgaSJzobX0fCc8pQCsoNQS1f8P1CivnJDNPow9uE0xBCJP0ldgn4zg+Odxo/A8s+GZMHpQ3ofqcuKbX2p9CYruJPPJJ0FdqR8XyocPhdaR0xcDPq/p+67u7BmZLYTHDyaNhd8LNAIs479cwTmv/n/GyM7G3etsMSXIJppXQQTdrK97Rw5kn5owRYZR/dIJfbdLOnWFovCUsLPjIF2MgxUGexV8nyYAbpiY/3yYvFXl/7KvELBq6TmLy2nnJUm+V/LV39gPkNA2AXXKe8OKNttJYR3Koeb32jEHlcOibKGQbdQz1OQU1+wrXuwxb7TC1VngWlXgRibEjVOIZa7kG+Xbo2Iqga9dYro4Oueq2/tJhOKdLn2cFfp0WRBkYAudhNG1fPP8u2j23jE7mkVwLgHlYCKubws0WzKCPUIgohPbz3eqRuk/9s/LUCjOMr5Dkf+SQ03aqaQfwfNQtNaIv9zqCK0XPu4A8HXsTjjeZoY3IYYnpybqTSeL23rFTLmNRtU8NAp55cUeasSZFCQQyvXuPVD/1Lti+RDkM1ee18zyPm6/NI7E2DvCfaQEMy6DkV29Rm05jfnNRg7yI6OKHvM5+hBtRbVEBBQlpN/E1s+8d8QUoG+GovKiDzPSMby6qu3dsxnYOxGcV3JnO1ANuq3iCzkBhT24q6rWSW7tmrCQ5WYcUXjixFH+B8zdAv+6yJ1NtO/1EaZWZFvkM94/bMPfQqXIVkp7AYiAfLzBcab3E5mf1A7CMHqBToeTPx869+VsRCoZgxALhZ7Dq7pBFvt0+FTPHWVHDAm1IzAUOYhzNXWoDjFm82fJEF68j9ZKYSVCCqdy83ZwMxFJWEGGmgkF/F27l4ifhSdF6iB6u2VFzc15kn/60Ewbo0dRpW40qICPd14RyFa43Wot+Pa8uPtaxfuwZ4+KIHSmpqAjTFURFrOwm5uAsmxkmqTgx2DPJothgHpOEyrkYIewwzOaD+gryNfEecXtM5Ck1XZveEMtjthh1JmxHsoWZ2umfu+J1TxD7YhlkkgbxcLwZeW3wslkqsnFGnaPHGzFgnOPqIKIVLtIlJNsfjsLNvxtBQOkVsv3zLGCK+3jDI6jAFyByEYc4T4pEbmINMKPPYtafu4ivakvDf0Pyio2fPyfLylShZgDgLFNIVBaRlnqinCUNvFXp/FPTiVs2Y1feFlPpC34lrukocbesvGDHRoKWtSpuCBH7DmOz0zOGQaCfQC/xAbKJdTqK1Bpb2Sa/uXBFSplOG4tLicL4a+4xlWNec6GLq5xVqa31Os0ehDK9wn2nKMKsGi5jMGtGvN0+WffaTrFcEqY4FdryPlqghu+2qI1s9otoVJQRoPswApDFY1gJikRoFzNXB2gDK/ApAbReKlM3u2yl6C8Oy2nOGj+QLb/OEf7SOEuBTpb7+xmda1GR2xvAvNJJRDZ+mbYJz4QQD2CXUrEdCWsztdHLiBTkYm3tVuBynELLNiNo2E8p2RP1Xo1sr2I4FlgjaWi2ocSKHKUS9gKyoRelCksoY3+Oz9bPX7hs27o6LIZLs6ttJExqC9SrtL32DrqhSgkEFAez5byJlVr4iZRbrhIJbpS/1+BFyOCMntZ1gV2FKx90PKWJPlvme3Cb1R/x9kzrlCa2zcIRPr8xUGbmaLhAAbn+W47XSlgbGtJj069hvlu1ccNDeUXAKtF1KB2hIWOd5BibChmcbPPMJrxEBvmnQxfz8148ct5KrzYfhYy0h+UqNxV7a2+lI+SfFWKDb9kzOMxNQapofKPlmwXY73UlQWep1Dj+FPkhPH9FcRUwl8W0X5ZT2QGBn3cG27UhvI27bG8Kxjhy3GAAxEBgPajvbgyxdrzPUBfhzI9HazBUprnvy9nothU5t/KdGE84mKTVk5i7MZr//Zs2O6RkNE8+n4RIKlYjcaAneb8/wraPwgLMPIQTsexgAhzdfAipgmycjnOH7QCx0lxJHfTWMXsx96Fp0aL49gYsaKklhPEWJY75NJZqctTeeZWTUsf7F9SLQmtgQSmLRqlWFJoluyOaznZn6NP91aR/yFAukI33ykuVY4AV+cBIKzxnf14tgPhPxYNet5VpjzAiy4Zx9KEWc6Ne3ZAyCixUkNm0/bRGSi46rdand80KF0bez2/5F8jV2xZr0ly+C+rJgRFJPKuNsv9cei36fwh8FBA6HXgcL5LjzT/HBYARCvPbZp47oo1xa32IjncrPMpEJlrzaFaTaQMPA1Dm27lDCEur4GPA+ThA+XmLtrvFX3z1OQDYhulP4xyS2KJg7bb3YRqHukgCBO+ngmGopPVUKiGCXqRIJg3uu14c/4JeS/A+JfbvwVhhn4+0bCIsE65On0jtabv7OrA6tuYsi67JhEJXsDH2TPXh226cNS11dFc7VCXYCqK3vaeGC0eLhfnLnmfeif/m4mVjmqEYlpxyA8KRZ87Hj8d7Fvk6bwXnna7kMsybZ9fPTmFS50O/V52XR1EE0qRo5OGIVKIwJtaqtodmTPg9WkXccZWMQnkxJhRMchL2GonX0XwbpfCZIZvQTTHZqEKL1pTZs0DaKXPv5rNPD41KHwCdl16p3bJNsdCKuvnwVJ8lKMSiokNIkzaWJVmvJ1WixUGwW/baRhC7+MdcVETJPzLBz+dhCWJ9NtgvUnt7DK1kmB84rFLWdG1wlpS915H3WcgkGVeKZG82oVSeKnO+hFNRLoyBGaBmlWvmGQmQmIF0+SaH4HK/eUGHEvjC8pOFIwW2MVI3MTFeyTHNakOjliM+TDct8Lb2lfvO947WLazjtxtGVaZbSMsNaVJm4dgVXdDefgVTsOjD8MkV7aigPUrJ1YC3OAxTNnzB7bnjKq0VhpjTS09MDz6AjCzHNgCTtga0gRpbjExWFIPq9HFKpVJebv7O8py9x4gREwSmKZ73VqPMHkS0YG/pxIjr+QQKTU71kX7AZm72fSOf4BWTDQndDmScsSEhhbATB21dCs90nilVrYk2AiIZXxtwcIl4MFZ2roNflV9sIfK5N8pZssPYRUFDNuzBY9qRhPf0GvvesqGaFDesNz7+U+d2/oau43ypAnkxo/W0Ra7xMHj/p+jyIfbxYGJI2E2s519XdK+Db0GBcof82wP7eaFF/HLTwpoPiOh+G3QVXlQcc8YsAgrASJpi5tdRU14bcz4T7rexD2sg4miiJFtVlayiC/j1A3JeOEqOMRU9bid5s+bcJIGiBw6KpkGgYwcMw8SZZRS+NDpUfx9MgC4aequV1/c9OHQIC3+0bCdsLxW/kkhE0LQWz/LNRvJSLai0sN9B4NeWWZrCY509TY2qQ3waypoXpNa/7xkTk8CPrt7ohVUesTAx3daDqwOx5icWYdiTVjdwI2NSBLqiDJKtuJugfT5Vrx6ByicdMvqD5W5maOZutKzhUWK0qN3BMbiVcV36xb8OHH0LJwcBCICs7kilQ9ygPwbe2ktzu2B1CM/on5ML5WiUrmjW/ThiBYoPBtr/wmYTJMhRSTcNuHLuDB9JnFLITvqSWn8iu3VKCNJzWDH9Y+3oS+ZVMiuXTIUxOb0GuztPwLo4MKxFS/HHEm1EvMH8M4Fr6CzUxUNEHM2nsrYaZClJ2fZsnyAjBF9OYxT49g6skm95dKoZiOxG4lNseobah39Moj2rK1I1hgxv9P6ro9G28aR4yFgXgX6gpuFRxXmoChDDFJNULxW+079WeVKIF7g0gagIpi2HVHSSEt6rBgLw1EWuPG0wvdLAQGLrKXj7bYnUIR2o+ypKswi1YnFcD1nuAP3ksZR21xRzGhz4fCczsT3STdC7dHbdpLPXhvkKJiT9V4zhtW7tgvX0DY0RUwEcUv3tyqOYN6yEeZZzfCdHGXHDFiQZjW3f37viD1AcpTiRZiCbRDYyPe+59l8mfliKrGzRqqSIgGcOeaiuJ5iGm+iwp/V68grgNqDHa6Ic1/62exDoFXvK+bXAH58XytH0EOVv9LToN3T2Dhjkns8nCSTuS2UkQGKL2yhZAV/XmiGmKLeSG3r/SuiM6oOrWAsCY0eKBfA+5KMOFBF3ZuV2zzozqs+IIYV2vwys62ImcRy/BBGn6pQzwBUiFBPVES4mHLiRmiDhoF1AMm568Q9Bm2PM1B7D4u1rGSYnBju5jf9T2VyKA3bLX00IISFJVLhGd1gd14Skm1g9imm/+4kndWuUaap8eTjZZK1e"/>
  <p:tag name="MEKKOXMLTAG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RnYMvsTGriUv9bwF16ksc2OgjD1UaA3yKymrT+905o9XoZJFGz2vvL2aejoga4gfLAoewhqxUTCI7TYvtQzx62QSB8I+wEnMwQAva7KFIvGSw8jMQ9PASplS8z9RJJBzRxnCAkiNpbBFPYQfuvqLo+MfVYpxlMMgbIjPt85pTf2Iuz+SPxo4kcHJwvZCz6/sBab4zIyhqDr4oCgyt4PIOW82vwpfbfKAcpUwBBWigYGdFPLABMPFcI/ZyFbFd4B1A4GZmALAqFRN7HFyUruL7xZy8MRTT4BKgz8v8axZaY/Zx6jCIdTe8hB/93k5suA4sncBjxDkFeW6yfu29NH9EogyOdbOYJQGigCfzlEmwzC2dPAinaKLGKLrs2aytegMQDeLM+7K3zMwMIZswrX1enWfgwO7c0KAW2Z6ZIsW8j0zGgB4OEc3r3Ncck5V57C0A24jwDbQmnF8JBq8Dvh7ZjRF+cvNk6i6orddEnjnVl6UV7U2hvPYTKyDYN+/HqQ5wlSDDdGCfPCqdIcGcLKRlC4M08Q6aCdapWSbxI5wGPE/GZwckIg5ldfjg3O3RBcp5yhSajzRh+Ht7LRPUu6CM0K+A44d/aVUxKGSzCeox7VylWoFsd0/69jmX9Uzc3+JB4dkhQKt+j12fLEXB65ZBwFnMyqg/ZP1+3OAzIk+I1KIEb9BigNTJSJYlhoYRelehBFQp5Bg10SVeHBUioDwTGEnWdFXenN5caIZuhoyamT1/kFwR969JUN4VlLSQC3nnyoSvMF3KlY6HMlfzQepm0Voq7/6UTq4hM52ALsgnrLfeuu5iCZcEjtK3dJED0TC+lMqvpMIAr2oMmMZj1qu7Ami7ooejPkAc6njVfMu9ZAK0q/9gfgznSMCnaiZe491er94UMcHMbwQh67bKWyrGJcHlCSdRm6T+/4thiPBzviv477cYMLdm3Zy72+5fxTrtTvuhVtNmaNZHsK+AIRizbR9Cw/iqhuMQcTCYOR0w/LnBX3VUAN2lFRJJSCEYAJNjAtLNNDRO6AVrHFESR4lTZkpek/FUWEXM/Akdjmns0MJzR0TbuZVDhvoLx2wvocJz8epdnVW3llIDg774Qi/W5lzK6ccRUPSNMyxONYzkF8hg652ljUvwO55C2zpuYgxL2TJBBHIXttD1MMkcF0T+47n2pwfYZOUlK8v03OpFHwmDN+DW9k6rw54bPm7WAWCddhZ/U2A9Kkd0m4rZfQvt56lBbs67VJFsUlN9haCaKyx/SfdLNhtAdP7Vx2IXuNfKUuVq2i7n1gO0YXn9V7LL9BHHvt7qWBH+/kXHSZjv0thvebmGki2eaLEnV29idXWvXi0ljY+dTZ1kw+zJ3ArlwfMnDNJEWyYC6BgJEX6BlVzsH8kKm2q3iHEJo6HvU5NJwp399C0glBp0aYes/ZNiWiZNglxlQXY271oUF3Emur9ka9GfwBpHqAoeMn/McIKmU/Q5TW2YJK7Cj0zbDwtQh3pMjm8YKAG4uUPOKmsyb/NSaz1jWGQfKhwJLhGzgEua2/anUSWRA0D/YJE8PwzpATTYp8IYo0HMDv+7ycuSCVJ6Is6Y5lEw5/4PlohFojYanp6GAdkYbk3o+J2bonWz3BOBhKLj38zNqrZh6dsAXYwM446QWXcDRk9Fe3bvxuAboZBX+acBCBKr0KgawIBwJGJ1ah/fhFuiVfd6xhbnVrsxLHcu83UN0yDuITelwZBDJAVWDen/zUwcxBXaj5i/d32sbYxfZra36Ihgzv0XaHu+VyYQKOZeDlddxOFjzWKSY+8MP4z+7LVXgysqQD7kYSbKlIevsmAaYGxuf2lUk2/fQ556KFh70k17Bi1hgy0vGKGt+plSCuQayiuGOaNAJ5OL0P0hbAMaQ+W3ByNM11P2mW/n3BJW5aV6GnDb+eSdDScgIwB/Sxm9U3W7cZ4gM2aFHV8o2Wu/v/C14eDWw4n9IUK6+Q4l1nwaE2LiltZuKcHCAESp/mlCb/ulJoA5HvU1ejzSmIoR78qRYxMCpSUzisEmuK4Q80xcrijIlmQhVmcKarfbLranApWZCbhj5hFRXoOBxfgBqPcBV0xP1/yotW9mvt9NLwDiXdpvhGn/RRZ60JXv0iHYDOn+AIziycC6o3BcduA3OmowHbhlFIjG7wvhPobXeFuVrMklvwc4XYoxKVQdyk8xYZG3DoYjmMca9gVgo6gqYRvlqE4Indsllu5FDywsCOouAGmdgQLSmk9AyA+KVnbO3RYfD7eNDUBYqUun+gqbOtR/7WqG1gbDEARBLfCoTSTwPlt7kimhMc6FKZMsi3KXuIkQhzTXxiZuDhOhS0MEfUS8JrBtTuwuZycKdLKL21wmDAyMwq0nYH0XR33czb+Q5euCtpQ9Bwc0O6iaY8UcuYI2S8Sy317pVWRzD4YOJdKix6tEwDqMHO00I2f0q4/NFTjWQGJIKZXyH+sjKdKR54ZSb1KwIm3Uj4gE5rDRW4O0UG9e8joJjqPuPw2YEBkYzP5n05OQjVFFTQVnC91OqHth34WOpd4LrlER4bMgQNYYjReMGGu/H0VlWuUVMWSEoTOVE06IvN5uoSBdASMnbu6iD00JoeueqLJn0+J5pdVAolubKQDEypRkiFpjz8Vu6B/O+FzuYEkqft4oWsFtxYRR842cxln+LUhzSWvvZkGStIndwSdtnskJrdSG+s9oliom5KhGNxUJfoD5jMhOiqfsllIFE5wHTriWWXB9BQN3Jm2qUY/16mrBa6S2ktyptMz+RX8psxVEABpsXm3IBDb6zhD6FXjFFZVwzhHAOqSLmdCyaLUfGiB+ji8Cy4NL7bOpagg2kQNmoegIvwUW//9szQPuVPqEMSAocASU4wgPwrJG7ywW+Ze3a1JFx2hATx+9I6bmmRAhFISuPu2JMisSDlTSQmEVAVH2KSnL18iQiOcpAeG4aJEm5MoxNbga23vLG7U9Mbp4pJFt/zdh2BZju+uJnADRs7FPCdd54sOedaF/AQESUqeSM1aq6x8KDGhbyrypwNyII7b5qdA7Vnhu44wtV+KPje7nViFN6rbSwNAb18MjblaULm2QOlA8QeuKLLNc99MoBjcyJb1UgYKyus3tSmhe4UMEwCkeWv9ojaHjJnyR4lGnWyelekIyWiEAapszn11pnUA0q6PtNj8GJTDD/hn3uFEhe+E9ConboACPCxfoj3d1E02XBGNyR1NWvJtrbxbjoI5HpRd2D0NwyFp8Uk7NMJg0QRGLWMEEIsceplitoB55x+/9+SaSG2pdPumW6limCepQ7n8EXQIZDlIHRfYfngqYXLr/ruwyo8d+5lAjVN+9g0fEfEgsBXtz8voAkd8xB/lgj4EnIIV2tPF5uZa8q91k4V1+U4TGy3Guyfcp/EGx8v+uvaDors6dIUxmwbc63S2A61qmiuRe6+wJv3ojenXwdcNONZMOWBMBg4Tr7ecK6+58lAoP2LopprK4JFZE1R0SHj6d3Giv3kAvFJIu5hOYMfVcAH5EGAagJLPcfFLIk6sV7Z+g6pXKGMxMMJVdQ/q9c3f6XUpKlIjFA9iQrYvV/9GBbQOTXqU39+L2+TrKfD5m6BpjqyiNoFtUJkRVIe0ijg6Qwdlti94Wiiu+KQa15Ash/t1lndBfH+INhJ+qaFFU3VFYA9z3/+s4dmDs1CQe9Ev+mVEQx7X+zioNIX5zTwjDNy/Tla3QHvFl1kH7Bx5DGsPOz91JSApQPLvOBM4+2bZfSl0Xurj7s6leTsA4g3+qQyBO4V7OnYTr3euz4HVOT3cPTK+8oX7uFviKFcW5KUYMtNSsyoHo/kYdINL/nHofc3V7u6Iy1V8AEdaAMcS5EeEDqoMUC1s8LG+5Ocd4bQxAMhMeb0vjqvCAkAFpWk1Np+T03azT63xDdvyKqWCKDWsivCM6n6jhhJ8cntlGYd83Klk9HJcr5+KX6bXZll63+xiiZk+4mtiYNMznyIU/SPVu/JwX6bKUXyXBP57v7ouj0r0mAaHfMReNKHJ4WSgbkoojoudO+AxYfgVpvfG8h56bIvfEnLCc9Ma0bPvVizc/bL0PD8fSe8NrKmX3Bz28BBHoIflU8+Zz80RVI/oXHZ8M01XAfByrire3EixdvnpL91iteqNIAnC8QefF5McrOuUXdA5wBQSJk1RLJTfIpBLCwWGKsbUIEr8fmm+W/Pd+oY09S8yrc31+qd63AJhP5Bdla8Zqr3e3g/xj8/4UP366plFNtC5e40h2CtawmlZ6JwAz0RPRtwzQ+m6ie/80K8lhO5HDK2x8yKrav9Q8HYldd12xu2bik+GffmD22KT+3naoym94T5ueuXqrOIjFFnPocbT/4vDtUrmYesWHNTI6nwzpvoIPZRMu+3oSDXyDGgULG+Vk+8dfqyjvpjzGdkH9L73LtIkigOsdlYPhaFgHeIFKoLGmErHjvpv16tc8VoMoYLavf2k2hgrDih+ny8KuAl0HFOfvTIPdBYSVhaqeEQqp0PrPRUVhWhdkhAkpHSR7DvHmGPGPU46EoFs+2C6b3i0d3j41YzoGwr50sTN8MhGzqzdzxGCJDH+Gzxa5JU70OPDOKj3vOdaYk39VGo7zPXSXz+qZGZH5XjfXhIb8nYUjsO24AMljqnA6HGwi/g5MTjeR1IhtvSyJCmiuHQm679PhEayK0qhzUQML4oytZgNdI2FmnlEpMDcht7dSeycM2qoXy4cHtT0jSWO5CJGsL4bP4RwUNenoLDyoaV4xAm6wRWvB79UcSZ9SMCwJ6+3BrcJ5xs/91yKfnNQi87rXytKUpBi+l8G4DjKkMrCQrrq9dA5IrkXuAFxiu2yuvWeMYFl4iak0XicM67l5T931mM8Zpn0zpSjLYtswqRLuOucVui4rvrA9Wyb7KT72aVb1e+EcNPLfmyxCfPxPTjFY6f0HTHn7jG5653GlcefbTBzuTrtOKHHKkPZ0vTUyYGs7miyLSSREqb9CeuOtvEKSmGNhny4uLRwwdchHRz0g4w5OpEpg4yDmDOup8SvRyZ0ucbxQUoK5Weql6hEpbjygjetQ5So4YdHr+NOY2ei4KpmP4hv1nZW59DbfZ3R8v7mRMtow19SEOYfL91ySe0CIATBa6nhGU2EPY+CpfAAWyK7uJJ1GH31mXjG0SqbMiXeQMbZROfd419kbudvqvCbi9mZY1A3WWflt/7PgZ7276nDd+7X/C6yYOoFFBzXSSS6rSgC6UjoblkXX8d0LtqRaBGX09F2IK2VYOYpTLu5U+5PJ9+t9HZ9HAnAbIB8nHaPNNmxVL4lqETfj7ud+87+uZFIsijH+URkvxVrECaNrVwLlTvgwB4bYXKXx//Ygz9M4ojkTAe7tZ6aFnLg/TfxEYWG7vJ5r39PI8f+LTi7KOp3mI8bD+Q57iqdpghkZpCDRWbRttj07YQljc6bevgyc03opCcyahVKq9w+cQIf4cNf7Ck+psqCOIIkO9YdSMBOkY1cGtmYySVUxw86nnVevqelUNOl9zu2HTP2R8n6cjb88NnaxsoXD5Q/L+Lt90qzzzYXgfSos3AXnnBieLVnslu3V5Q5YBtkjXPiqYs0pwoTBrnmcj0QVIHh5ipVY6JGWEIMzu3fva8jiIlrSKROouzP0wS5RF5/PohmuNTm4SpqZ7G0O3FPMbXDJtAln2o+xoRcO+qYeGra1btI7hh1aL1KjdBEU+ulck1CjZMswIYxm084DILIANOEL6CBzg/p9RpOaybf5UONm2p/vh8CYQRLmbfzpxKbkw9mO+odIh3yb4r0nkcl7MjpgSmyDg68R7HOHJPxuBT+RjtHp9Qx6bFgPsjaI87G/WF4WRDKra5jaBht4lbQR3WFFqE7V6ehFoiQybPpsG2Ms1Q9TcAV1LG1MVeCf+2t+sB93OEydMutQ/K/W6pltXH1T/Dl3qog586Y1524RpmoIz6ih+KgYjKO8HlZmfVMNc6vZHjBXH/+IWRdQu/VT6PPhL7NuHMFxfNTcdq1Bd81MJMi6/YWg1Z4Scfs7FdT+LmEWmT5hjhU6YlgiqHT4VbX31LV49JLRegiPUNUCKoayGYyaFZ6hDBkAOvBjDdzH6wavMUehQY+WASKnXmIFzy+SEYhDceEE0jpLiPYUc9251xzBRDIO9y22dA4kwmDU+OszGGZdOzOd6EC2LkPAmnfZITeJ1WSC4ROpOfVNlT5+fWEhVzyHCbZq1psBWuPe0JJaIoMfK6yJCVlAid7foPHTZBFcmQtsfB4lXyiPTI47kZzxQVRhmhi1+Cwr6udpJoav1NG7nKdNrvrM/1Kkzyhe/NIEmItDv0TQq2v473HLORtj+hT4BrIrJjCJWEmfjfSyqwU0m/l5d67UX3XMcC9MkAYh2BiAl1LSLR9sBbPq3uBqF3/OLBJ5/eSvK98gByTiqibStk2uLhgCjxI8JLVlmqkcSmw39zs732UzyAUqSRZ98zgvqCztbvNZ+Z6mVKf8TIodMrEzKs7GYF6PfppYkli/+WCW4yi+OxWiLpkP0p2JOumbmrBwNXPfT95ZWM2/9yPrYu84KWrYziW2TIme5QfPs1Bda7fGKgRyuy9gwSBKsFbF/FQ8M13MVxXbpbJO7M4m2YEFpdbk1zKYydfNS33R4NMeUvkRDmI2u0uWpX7VHqDL6RfRW/KmW9nADM9faOT/UEwjY5AzNQtwikweRu5aXKTXooJ/rTha+MUFWxzRYsuvAc52Wszp2iPlU4DrxEGkKAv5wEE2yJiKK5ome4gjSQvH+vhY0oS1RguUr350E6OFakYJstE/EcS8q8Kzv09vw5i58qZiidiazfpDgAFRVaJ0sgOFAzM9U/gSSONI3jnC/n80zIyguxAsw1Wa2cf0nDE6Sb+UY5OdEEMKPaddPItC3uU4nmNtmPkpEqI2JOLlz793XKwHyrcnewlcBxJviTXl/xj9rOH1OGW+scFN0Iw9rS+8f6k2CPjyCV2JQtZvMm5zUp88pzlzJHzysY7A22p93llV5VKrpvRK4Rh4fMLEl48t+EEJBPnQJrs23+Fa89s1hCblHjykZBXAZ0E+sGeG/NqqlVi8PLj6q8w35lCd5bPLv/2UNTSerjICtsSXDf9MGyEYV4SbTZnTLewYFkKXpzPKz4GT6717fvuZns+g4KyWfnKVPcbYHEGr4bbz6SE0QSdJO2OSu1uJgHxiNt7bV72LknLqSvMXhHwOF6D22C3T3MwrMxKh37KGnzYDLLzoUBpvDWLukRmEUmQk7oqcC7ODF64zzI1JVgEH0sh5dsgdAKy/vRi3lQr2dfv9jUoqql5+IWW1ubsWfCidAH7muFyCNSYfMTgMnXh7D6CdEICjO6i1LDeI6RFkg8OymnxzaQnfOoGYOQeRkmoQGzxCPOWwoCpWMPg74jhbe873FwdyLRmM33ri0bAU+UWPvti/acGMBEU5EjYWfO/goKVoDmiqtHuVouvGdfO6ukMVKP7kPTtaoV9rrS/hYA828IG0oiaDCItnb2lNOWQsqcEfnGSGgek9csLKV7CoaMj3MclrWhpyamQ+zTt8fhoYkA2z4kQRJ7iflkl0AxqZnGjcimKZFvWI4yRlndCePVHsTV7a7MgpVz6b1EwqrBIC3WBs3iWJjyLkN3GYvntsVuwKJAoW5wdfOLdu03syfUYi3t1NtLqhoKL50DqR81Z/Mm0fjB9q+SZDBFyl2r7PaYVE2bC9n0Du1SUcuc31QHOFJSOjo02K7UCX6RHXI01pblEh3XObHHm5Ym+PI/jxxqcq2Uau8ARfqVnR1tOIdBv1+J2/5Hi5IalLE84jky5cLyhhmK95oOUawF/qlHgNST2ZaWUCji2WwHtuSNfzAdLeQE9KAkuJ2umoPfjYqsCuE1gh2jiXYjDhaeGWlIYhv50Z9m2CGKzAjFru10T6Wafw1EqbK47Y97ZYOI4sYQ4o0beP2RRN5KQdQeTZe/d7fFxln+UTGevjlJqbRD+j3gy5f+HLLcZIdjVQ3RviCpj2h5WMybRQgFOP5u9xUt3iHJOimVTVIcDXMtvVPBkT06lwR5OQrjnz0ZspX6ziBTsBalNPiSlFPaE9GO5Zn9uBbosYEs3Voff/mWKW3KnaA1wHyFG8IukGB06abfzJ3OOjYpi7hUS4UUGx8B0IUbaVDYdkfniUpcvc381To+KZVCN46D+tXpEaHIGI1x9lsq0A/OPWBqD6cEU7FTLHFeYMf98jA5ptx0B+DNsAF26UtF5TCq9TmpMHKc4EKGQG3wO4KAU0FeDEvUqNmJFsdVH7ujaI9jMW1cqUtN/6eQGI06M5pqgoKipP447xmpiS6Ax6o73j2xZlNerca+AfeOaB4RlZoean4a2aiZiQqD8pMh4qfbyOb+UXwa4nqatX2k2j8icj/cyMYVALeXKkTukBy6hq5JA/i/30qV/BZpxvcyLCjjKSzwuvB7UQ51922q8/Ko/1fpHhZByLgSCD4BnUc4Y6UOK28SnzDAmf/qqI4YyrmFJZKUBFKpTBQ4rZgyS0G5DMGg+55honD9dWrSDTntgCgZ5GF35G0fHONrWs95R+bgOVIrizXuT7OzsAxqDLds/EPJE2VWltqJCOICPY6jAaQMCWFAeQF3EYHBkJ6Df+jW/i0ILwl0KNSVqxpCHOff8hVR77KgK6wlde/RGgnlGvyas8lbEay8tZxXoapbZHnbWgeqasT5tXsZfhSkhrvb1+yfyjF6LhV0J/m2KVMFwJYtZTJm3BEXPy3oG39cVp7nSLWWYG0obLIHPiXYmzqoN0FSC7Ccjx7HCpv7+MPWHyoLMhXFC+VDBnnq7lFAVVpak1OFmq4RljIEmY7T5JlhBRd//fgNBock5SBxg6iYNKwRL2h/IqPfp6Av4GZkRnvq3pnKWMvgE1c7vDsnhbJ/bzYyajGWcV0Y9UdVEWWbTF9aYlNBM/xRhnqfDmEDWmGmb4jzkDA8hvrxXFrGkfmCVYptpj+p6jjKBGBtnoK5+hJnm04kIPVAGR1z9YPsitnFR4u2eOOShAC4/dUwbFts5zNM9YNqfNMxQDeNkzPhhO4i9qDc4N2mfuI65fDAv6bC/862UQeiP53d9SmnN72qGYur9LeES0XW16C8Fp8sNE7vDb4/ypUl6fOxmHDBhT8zus3ix9OYXBN6q7nlZ8yu67fug8LUILAtun5PWYofpJdUElJld/Jr4JP4JBKsRcb0mOt+hwlRIr2pyczOYTw6ItvpwXQvL/zp0D8vuW5tsQIbOAoEjjHdwoje5HS1OzFbN7hLGLfq6amYPHkB4djQW+vCV0Me6cPERjRxFt4wBuK86JChRHIHWUzGQmX7ypH4LimSpdpXiZU21NkXb77/97g8D7Ht59o8dt2BO14QsGjcGPeLTu6tY1XdUFGp6wbLAicJ/TwxRbeicPMOe7Ye6D7X0UcWNEgEJy5CqBaUcEba72QStQy+/kG307GfCJv4mU8EwtPESdOAdydxSw8gmMAkofIw+01yuC5cmP6PmG9lSYOj+UEqZbeILnLLuc7hhr555+djG3eA8odw641LYMTFNuiC5M0eypjlbMVSbWN7YgAEr54ghi4uLale8taAMB2XpwJQbuQIesGDbYYKHI3QuFov0go+U2sKntMj8DqeJBVtiecJ4sV+Pyi2gkVAvqctq6hV0SBP9vFFHaz69cURuxPot7ZH6gJ2LtAQjcMLAY5TNBd1algkvBpvvm8NNzTewMLt83VrnbaFUFFn5fZkoCfF1QjYEX9H+UlB9WTX4Zjt5eoakHJutdmpL4UxidUA/TEF8TVhqU12hXaHH0fSQLE4y7Hq7bNtlGKZH1+Cq8uk7UjN1X7/vvOL1uviDbONqq4xcg1nk35BhSuCaWx6RMwZMADPBfwJCS/zJ/HlNiWdV+K0mep+pR+CLXBIXbbtp6Hi1KJWeVI5a8JVztjWbdIfISdbknE/Z1OByyaWcCtiqBEPn9IaCBwfEDo/iTV3nNC0OybXGBRW7+Odw4JXW9PcVg3kPYyicunFq5ypvCimLSf4RMzCx8mu6AqtJB+Vb9AFn+uBR/H4PeV7A0QIL7dozgt5DKQVKRD99MEz0OmqmJTsD1FlL9bL+M1ahpO6OwhS5ez87+hXMMAF/b06GLobcls1G6ybQtjSYOxfrbz55E6WhXrnFShVL/SkpLyaj4P898qGqcNuyWvF6cj9IdGQDeGmZbEHMPWbCKqTAn8x/PwkuCqxxUqLyznTkAyPJL0UzCAYyjZ49lT2C45UP5QBaf0w2mdHPqNJpyIgO7+sZ+G4WXbp5aWrP6wq13ukpM3RgX60dXedhVcjT6pBf5rY2QDBjfQK3RSbV6hrAWQXfUTSc/iWiQZvOiTjigmPyo5eV3dkjmHW80dnD5TcuDH9ApcTLiaDzPN06CcPCm7SJ+H5DqaegrpZKka6dcPkbyQY3au3odiMhiw847OShad6FZ704aM2UMvIBsUU/p3f7e2abNK87b9oeuadCBZDJ+5SBT4mcLQ7ezd3lcCkP3lmv4REWCzFh17Bv/FS3nyQKxcZNqgDH8jSwQI4HAhcJxP9QHJ+Al8JG0c+8eNRnjq2hoHHPcRHGOP7CcQuuceEx6LZp/rm69ROWK1QnZGpiaQ7ljeOb5LkC7MPvMAtYnizqO0RBM4Lrw9pFNq0IrOsrlQrLolN0pvodsX5KUqcjGxDuUvt/69qESpChpC/3VjAU704gVz6LdgNwIZa0tUSPdqgPMVBFiPTWc+bPXGfb5iRvUFLeO3wci0kedAD2FeE/JYB+fhfbnD10MkyE3c7jpsY93tNzhQ23tJC8QLf44/zXt/z85SXfU3q2X/B5atmhWmArPVD2GPufO0fdgIT/HfMdTtO3UF3juQqh0Zzzb+PrWi4o/GpW05ftBBk6Pl+kKuUEnX8m3b141xSxgaDg8S/sZnNSjBUyvhzI25yr8I9PaMahdzKNOdh/K+nHc1huCRIXHgoXl69IZV4Gc3r2NF6L13nrCWrLyYglwofe4I2/+kX8OEqZPFiJUtvkZTbnZF307LCnJNsBTlmqaNu3J4yEEe4FJw4ax/zgdw4pp2sbIOCQWmgHmUc/STaawgdgLxwYf7vSY1Le+sh1X1B1zI/j2CtG+3pHcZXNQmFTB+NRTeBE3xr2yy6qLjtwfBOojRrxxuOkAfTDtnf8x5zI4Djhephayd8rKIGH9CAAernr8aJrysFsCdr23g46lv7mxuE0c3g/LGMkS/vALxJV2xH6UwJkExxyw+6Gsb0fyJeQVG57fZo0YvhPaCjbwdZSSZ3RdDeNK4WJ+9mg6koepME4fCMRIVVwHMKnbqL8gEXiUZtEjgDHHMWRFr0JSwSI9iTzm88n91TIQ9SepfqoMUnkw5UvbhrQBcriYFpYZDCEHfJMdmaP9qDFW+4Z9IC8d/tOCW486fSnkPGnlv+qzi6sAFFGbw86syZjgN0A8IpPhqLmbKfqgqeAAT3XOYzBpIN6gBhwlPOu7dRu/CbAjS4bvTVsFOmZr6bdYiL3O2KnOFqjcl+Arw1mjR+x5kjKqP68+mfdC78H8maeMkrucxJt3g8ZNMhzOJHsqxPUfMrwKjxTne/ZA+UirSpyJ5wsZe+oX09omGTwP8kBTXQgjDpY7i7tpGRlqeVqykRwMd339+nJ5HP/hue6cZGCswlPbDaoc8NmjOdChSIYPaMC+YvK/CKQL9DXP8oMSLjYzwHyz/4MlXYV6pxPV6SSZ1LWAZnKCyxe+EX3Jj/fE+nUe3lI9VFGjJe8U17Q9sW582x7YhZyECj49rpNuzKIWgZxidGVF4naJziqG7JPE3eWKTb7GgS6+tfzGVHK8LM6N5PfjbbfoKCCec77psYmpb1pNDUvlw1tq9L4mtg/rwRRPhTU2HSi5CJQo6JVr51Zrcco6WAfAPyMnN2TCIota4OzcVzbDrN7jr25Ed5T3wiN4esmnlAhIv2A5OtQnY0M7hTTN/u9t7PibiPEgED54R7qg7aw4rCDF0xfUfGXzZeIDiJrFUAz7Vwx7kKebZxKPsT6oV3/8Uabge8FGL8DN/nqIhiZaLOOKoYS3JXiWzwmKiWSrljFrq9hEfIBc+gAXvvi8xgfsseuHYTZ7KPsc9J69AvoWzogdZGkxmU3OUoCsYxvVhqQ//xyTz+b2UpnGDV1wSBIaVg6vXTs8gAJbUNgijrq2w6O6Xgd1m317umS1tkSJG4a5nloCnwExVYYYRkTD59NhSwdWtNxe9Lp8bc64c7IcwZjuNRyRUmx0icG5wU0sMYWcNLMczH1RHWAE5Z6nUQbpGCIpbNBtmya8fvRfugVabCxHv1zvgJJdPfWmeyhlXdIgoqQJln6B48/eeg5T3deCZZY2FPMDp8zp0gnP0akkwuScyY7JR/AyH5sUnubx0qYXzo6bDEebZuRUy921s/pFz9kPf/5aOsNcyf/9Rrd2kkk1Z7q7jmVcdjsVA6C96xEeEoQtqSTvcxXqknXx0UPE+bPi+WgtZqfXYxZe/tYxBd5GMuTQcIgHNXMr3iMNC/f17AQ82lgCQO71kSKSniCNgyi94dEaqVZVQwvhIuSQVHz1d8vJYKDhqMWQC039NSXpeEswLugenUE56Ml0ywTeNZee01bm7EG3MSR+mHDXkRl6PbGbKuvTyGH1yW6O85S4ftP3tDG5AI34Tql2v/ws208tK1VKkvtBNb1OgH3TGH/51NcN4CpriSn++9zmuUuyJCyyB3YTSASSULcYF0U7H/ram7eRnApjAq9qTTLVfQpwQc88ns69p8A7j5L+5mXcBmznk1QMRzoPIBPtPjnHRa/CniuFY2FAvjjAhBAo+7aJ7uopUKRkDrVcfyN0QBgc4m7WAnwPIqVsRsfNeT0UVVz0x6R4KLUK6FeQi5bJAmtGik9A1GxOFs8v40CK9E/Nbpp9ipLjjNzNeuwKOSRh9HSxiGnb0nzOHsgcHBSKpz+fB3Lb+rZpde4VK10/Fz6P6HF4K9LeYbfnnsh/m0kRuo8RXI80R2EdUkU2O8VmTbcAXTkc0DBa+vTZZRsF/sdkTfU0W+Lli71eC+vv8RVdWtaOyXcIjgViAMJXB4+yalNhM49jwI6KEqwdUG/x9alCSbwFql5Md36sENXvHptBYoBNXUuCGbQiAFs+ncvHVpKPsSQe3IuhXcWwB/HJSZ781d5oIQmik3zL49H+/q0DHOLueMZDKtYRlof5wXe+Ndq3/jBeoJaQwlc/eFtU2La0C0pL2+GS2s6tlPdxiJ9I4cQ9nIeZvyq0goF04Mzuo/Ug5jyhtZpEQWdsFWJP5zKIxK5nmFbmC6Dn/cgak3IibXn6beVr8mn1cJ9Y0fvBGpyD2dJ4B+0XFG+xKQFyeT9aHU3TKPd30F59vDvYZuVpH9VMAjdB9MX48s8rIcgt7yk/kNLGNU7sG2fJn8oVp0EQPDpclogE/3nFHtWA9tuiB/UPcbr/jO1wOiXfAFBfGr6sNaPbmIqoduIavjaaFy8w3XrWiBJoxCFySWVyY1BBNavD2u5uqwN4ShmINwIBgqDDFYOumJCGOuylqQJe95CxN28mXrMAz0Ss3Sf/CmGp4lEre+XWDtaamdiYism8ahkMnKH5afzUB6LB7pR0gPB5ID7RyCYiWNlvksEAcrnkaej0KTNxNi/HGNZCoYjndjd2kVXivNKwAMgh3nCgySq5XiG9+h3VxW5MY28/q5LZKL/7UikmIHeX1Gp23uFj1JQA7mZiUu0K7qVI1g1khn5sF4pIJVKw+MH6xU9Nq1albuHRl9ehFX7TEU1ghMWywjoIPv6zYQ6wgq5vIAm4ZybT78KF0TIO3RAJ3wECjxIPHXsZ76OIPwU601WZY6Jf+ald86uloBKz6BWIxkz0QSSs4anbm8W5yxxF50C9jmjmc8wsI362rsLuZSpb8/I6N2alAtjnZUXeF1BsZ/ZC5suvuhAYqYaY4FI6Eldmno+731KH4cWIcXqk3CmSJB+6s4sMmvGGMRpKpmlqya+1s46DRQ/L1ox1wQ1XPehFA+IAUGs0URlrXMRi8pTcv929Fzu4qHurze+y4UCN8dDr23STh08Y+hgKLM1y7YCjo1Z7HrjmjSEMVdzxiU8nJzOAXmLLDqWbHz98PSm32FzcxuNVW+R/rO/wfGBHbff42RxNMN/4C1pMv1e3PT/gr8Bb7Wzpzt3hTGSfDshhRi5w0K4zFFiUDBtSE19zuS4rMlvSbJqtvSjpKTKO7P3GkcdSddXqeYpg4fnNdmmLf2FVjT5NUcRc+5bDfI/84aCMw3/AotyOqLveb9D5lAgCmaX+nemBKGkJqnd9mErLw6566FdpaYWTwvdH9iIdCJn974BLFCLuhMntyb07AvCLeL0R2e4uNdGw1S2B6f+fX3OuJ2UpD5AzrVvnRDtgtA86WU7K7Hdg340aG7IhknxBeycRwzpxDfldTXidaMmPCeWFBKR0t8Stcp9ydbV8+Jjirx7pesmlQWbTdBKosji2WccpaefH+mr5BAEo3jTpaM9JSwS3cdKq4gZoHgO/fnV9TZAUZnGLM+cc6FU/+Pg/85hgaTSk6mlv/162aCDjUPPWaxk5JW3XA1hnoqXGtPL8ky0hUALIsLT/wLM5/UZvS2i1TUPZJy5fPPFH/YK7ImhCWPz1YxHDNoDXvCICHjrEgkfczu4Rs3RA7e6RH2luXPh3qFvf/7/+4hCl0Q9BC6VCi19vcMictPI7AEgAj98KUnCCuqENs6rYRW+qphaQhHHL+lxVcsiTj8n/IJweGpuw1c93BxozELTtozqOBORKvXebYOxVGIPQogwqpcA3itNuAjXJ0WvQl2hGEnsWWJp4utBA/Xj/f5H6STipKc+CgDhKVb3B43RXTJM2hdBCSNeXAoRLHtzNwPht6LPHjbNEEczWWmmssCuQa9/kap5asRfyAjP6Z+e+si8Ll9AHvgzAAkFHjSVvfVks9M2d/MkaXbwGxOrAc1TTB5jgKSfMz5/kKRhiOvNrNezq02Q0StCozO12l8QAZO/wTEERrDAR78Q5FZb6RE3CgsLDk5eredq1tfEAIibBHgvfGa7zI2dPiD2AYCKmxnNogCi0IGxR3eng79VO2gZHK788X4QvvThAI+v6eiMsAM2u0CH4johEC4ZiSBFwVZWIS4FpaG8ZulDn5jsi3VaR5wDzAU5MMYigFJ8x8YW6o86hE4xDB/zXyEcHAohohaMche6xZkr/1eN+srp2vO6QHSQ2XYjwPXGiW9vH3jZ7msaer4O8CTPG+qz+/etCPgx07oHWSGRr7cWGzQGl7hj3z4xZwtHtbV3h8xW5vNoq7yiDFxmHBFwxpMtfrBkjzpjIVpBnDRPwSLSNal2NkhLeapMUaibZetsjoXFmysgBpqnR2kZ3BJvS6Cx0BtlKcFz/UslOAMP2XTih6Oq9/7c8Xb/QlGiZl16gMbbcS4M4XB3u3yz85+tEDxWzRPfe+ZUIJgla3Sx9n84LZRDZdkp/I8QIriVkWEkVBFY0ZeDrAPhSH/VPNEy/2jB9ilmlSk0Y8yXSij2mU8wtTJ91A/+oDzGK0EVwOIhWwyd4I4pqCwOT3IKRd5Kv1kYw7iS79U1/3QGTZX0d/CrewnRgK6O/AlvAfi1Rc0IpTydY7FRvSs92l3QyD8odkM1gtcvhGE+xeFB++if8SdptRDxnLCt7nRYMsFr+NwXAJp7qAT+tANEAV8vtY3IldhHdICdiNbeI4KAndoETQLEpDUFBH8jYAXHuv8ZNo8kHokw6WEJJBQfbbeowPV32OFVNIY697r+L04EzZ6mj/g+zMQ6W6OaH2I5/SUpRCcTyvZmuYFdA1YBCLMiuED2NCSnZw6hAgDnxG/AQZbeYAl1MyUVAchbyil11x8NuxHcJYMnLeFPBmpJ/1j1YbhU4qguQFADBf4/PuuSOKVeuGSXfmhC4vstwnXXX9XD1PufhkjMAeCbl9qP5chs+/KXZgIB9AE8EC46JRNWQVuGP+5UwO5cWtnatfYAF/weCT8Jylr2HbJ60UuVEV9lqpJ1fy5fGGQLLnOIa6lDdO0A2AboZg8gIqzvELS/JPVHdIsAu8Tr7tpO6oy7HDajGgfyJxYCV5hLzByTFIz76FMRIn1mm5arxV2JdDaSMqLFFr/98ax9gpcC6ceXth4hhbWxuS5j9VxuK4N7HPfRkbOtCnJXsv8Sp7sikfrkitH5ZdIIowbklHS52z2a2SqyvbfWeupKCk8C7+WNiNSbYOLHGBszPK7O10JJFUZwiH7TiLNh2m1c7g1ffuDZwZbk5MPq3o8al6dyQon/7qnHTbajb538VKDnMdRNCxYNkPZjrwkR7yp/3N8VEEMe/kSQRNfse/JJWpperODxjhr8jvwIHRIYNCOHD23kJ2Wa1RuDctcoDCNLuoR09e101JTKyM6/hwPCFDPBV/B+ogD4yiy3D6wJlN0M8p1NnVzKIdkwe9Q633JBBGEQ5joxOR42U76jwhVLDadp1KBGv91iLIS9V7b96Bp7NIBuOlVTZmU4oDNjfFq3s7rvVZIyGGUnpHVJVQgxoKxlECAQ1qLYxmXmYlcwvZZgQ131+C2mHvFTJcMTLGnrit+wDv4e+FURcJwQyCOG0JICu7qQfnd8tPBQRTHUPCbSAI8g6lIyVhZxkLEbAX2CVNDks8COxTO6M/MAbY4hnIHlx1ZATXb3ZDUD2/St8kju36nRNrH/SIkKZNK+MRQKfVKI8UKv8LfQOKuuSUY2CzQm8jZYznSdOz1MxEEtIWzjThuO/eXFksdito4j+048nl18zcdgyGBzb5sYXvRugWQm3QEaDYWk2Vovw9zjiHOP4qENTPs3J+STeLQR54xYWNMFKIwEIVjFOUk18E281b8LhdMbn68a0zjgVjLyZvEmzLtBz3UMeFx9q8nymd8s+WDxoJsbj3OrfkSNv2WHJ49OqQIMISVP7djkDsj3oj0NHEi3GXAO2oOTmF98Ek2/FQDIsSktO0brJxydCIxtGr86/H2jNJ+NnWuRDHkJooW3fTZF9TgfqJg0gxFauVeGINHbQXIYiIRwpE4AaOg/flKKQqPhc72lAgDJdWao+MxRl4P7TT19kGIjRyrkiNem6g3//ztof9CTSEkukDkBVq1PkkTdX6pYSaO65oztKlxDRWbu1S+bL6fIAzBj5x0tJaVBetfPrWEUug8lh5w6eb+sDM7Xzl1P/Vu3vAqyKywmfvvAVzyhrS2IL99Kwo/Ug0o7et6acq7DrQPklZ3pR+RdVxxnK8SW8l9EG6nJHt6YTr1tpLN3CBHDaicXfG+oI6zJnbl1MSb0PuGPDEJARaSEK9PKNQK3eYe1Nem5iifRbcdVfHTW7UFuaJulDUZ0ZfQ4RH/2+GKYQX3V/VH1QZ40nV8AXvYYozb8/w6nD6I394N8kkmIn1B6SgxUjupC6B408HHUVFFMiwLZAwjOrhvynYHftPO+ZwX6cAgW39d64kg3HLvuO2mD0u3jEYLDHcEmbdl5almmbLvcU7h2rJBbHu8V1v/5PFxKiw79YB+MY3S6n74u+2vuaRKw9POPQHPWOlypm/lv9AEkD0aBSv/nFIv/5h4ncJWHbL/yZCBowXU7LgwABSi+V9bm8IyqKbOWf9abUTFrHd2EMjHVUTwpfkV42mkrXa+FNgsWVo+pbh8G4NO09Ghg5cgdX/AryeCTMYNsogLSX2TNWdqz4fNZwvRkZWUVJbFtMM/ctRiecdYzPiFMDxNneK5Ic0RQ6zwxuPmWCn4tKa1veFj6zTJxxcRHRVndoOV61P9+L0CVqPHHyeeQDT7KrcYvlO3i0Hp/xOqgNqGjkdX9AyON+5qEEWEOgBMfBQNiFA1GVrPh9wsvypwjLrYsX6pmCx5QH7vOLwhsLz8UPWaPp4L046AHz0zdwMY5gRd87vFJZcfypY+AFDsQH60RoFjAOhgFqLc6c7MC4WpHeclCkQRM/lrKCv/L5o4vsD4UaDD3QjgaGGkfgapnrP0J7mZ3L5hthpIvF4VpToq1Z0dJ06aMcfUMLFlWl/gSKMU+o8FXjNCOcMn1U1JccP6AU+P/HiCWGZ46Z+/mrl+Nb3GJ7redqZw8CUCIGgeAtJ/7UAeujUiZf542Vc/Q6kV3fkOC6nejefky0gMdZLnd2MmHp+UygYwh4p4t3YPPnvMw/ceujE/G6U8rXlgQrmBTCd+kjBHHdMYYyAIvFBQHlbOrRK6Bqx2J0Nn3rpvvNzuRXswVc4LIhvyCSVb1DZIp86Inul5bg8+s3rnSx2nje2hd3KyEtTfZ15wi1FPky8nBSfYFLKB6cbjvrpDZSTQDyDt1FiMm8qGH30vPR+Gy5vQJ/Azz1G/M1c+HXEV6khQJVlk+lmsUKVvIvpGJU1hashTu6y6oNGsW2QqUFNrd0+qqg1KOx3EfYKaSd/fuDinIVLsFJ4mRF9wB3ZSS91dDPYddqTz6XZY92z4Ag3SPdUIo7Ke4B6s/wyhEf873xSgPaB7uNd8DSGgOx6EsWfG1b4awZ3OtFQzB08hNpaI/AxuZBus8iybjxZNVi6o9cGlGvCC6wvu+mFG0AJHXDH74lLHw4szKMi39qNQDS0th5zvNCEdGn7ePjUVnKWJ6ISFh2efp/C/NLRX973CMucJsGYltIjYqUzWZTMTO4VLBYd4CJTxZyyzov28NiHObdUxNM38hEbPGgWTiO5UqjmvnxE5SMiIV50uyliQvavn84ROvTMKaMou8aXRTNg8kp7TcAT2xdXfwsEa84UI+XrVDDXsAcfRymSc4TFyVmvrWcA8xc1EgFdrMq/ds4DWtEMUXJ4/SUnuLr8GSJu6ihwFGo70Y5+Zfee/vePNR0lSurX4Ss47hMf5ygfI4yUK73HWJOSnTs6gduZS5B5pL9y0IACfjdSzcgDCIuEryxQ6z8m8bNmbs0G4Ph+8qa+RnQZDYbhA0Ht5ASj2m3WzLB3x0Yt1ud86cLkYm7lXrArZaXYkmzmosxeiEGz7klc/o+38+H/WyJHh1QXXvAR+eU87UtbqILNqLnfYSkJ5OPa0SUiNQdu7TAjVuc0hrzVEXH4lVX6tWyf19HYMFl7KTha8YiUsmwjjm++d76u1YB94iL4QbrrYLHPY1l989Ka7b+qjHgMVNccWK5Z7TK/RmbRGR0ifGenZUX67Tx4pZrxve93Rbge/T2Z7QjzVzBtIfvnIFJalMKPqe5sQLH1umDja57BWMXIQswfP9/5TWrw9peuTVwlq2c+PhMK+UPRYQipItrmJY6/OLwRzCNoZ/AEc4H2bd+Oka6wMZremP6uIF+8HVMNUKpmu74MLCyG77mRHkTLF/5VHABVUd2Lph2noTN5kZxrwNbGYdsaZwl2DmNWvlr4tDig8r9l3j00uvkBmxlTAmkqTv0HMx3RB/kYTrIQv3IaCYzpCzadNk5cNNXbmlIMWVSujjrzaOjWSV9ij8AC2w984a9mwqfDSGbhI5vwT43o/wnZyJ+JlkdpTg2uy9YSBRsRX87bfsiZN+81cAILSThuPFD6gwQvwV35tNneUlK65GQydZC5170HEyJ+pyWs7WdP3n+w4YaSBr8hJ7BvajNVkoFZpUUbRor8qbEheRwwBKpzgKoCwAvLkkoRg0XhXtgp4q/F7Ti9pexYHknEN1ZyZwPCNHjhgjmrOyIGn/EQde9WHtXbWT3WeO7eS7zBuwHXitFA1aIMVJXVRN4N5Km57iHSmpS5TF7EWEAOpolfYWA2kIHQo3qL8kMKI44TOiR5NjwBeHqdgexmUxFraQmtfLINvURtaJ1xAjsALWwnf7yOBNchlG9cf2wFxiftdDxvEXW2JRRs/nyetvcsZ3JBmn/VhOphh3eGcv47Xn4feIzRz7bNisiDaJXLxBJzso2cyN671axz16uKg52rann12Q3yiAUQ52zh6tPz82BCh0DxwMe3n8tnvkpGT3fCCymOzXG3lH1pGHPu55oM6yX82SGjIT0Tytk2amJBNoI2QXh9pO+yZ9D672ECJUk3k2bD2+xcladjXY5BK/O5+U5Uxil+VLk28JurFED8DqGJS/sTfozt/jObcytdaBABexxKsC7bNFyir2GClElBk64LEYwpmxU+Pq3WuAqQoCPAHQ1vHX+0Ej8TWoCaLP8637kIhuHeexktidjpwi0iuxgjhYHxoQdnytjulmRfw1MwbJexrotP40aiHx3yPYd1BMDCThTQ4E3lLgFQ+QEsnxjlTQdMUIZSJeP6GeJqlQqAlo2hkp5drjy2KK8OpXu24zw/pzpJiL/4umNYaGW4Bn3VgH9XzJZEZe7AQVrFEGZkuTAqt+QwlHkFkd24VS8OK4qYrv5OWan7zo4/jhbY3St5X4mUYOfwnHUr+evsQsD8uLdCqsGCEwaAAHJa6sumUOKGoZF0dh2vCBnX8DabAgop4+Vq6/ngzzhpiqcC0qwYjDH7TyrUrzIR0xNfb61+pC0GZ4YNZjV9hsmxVyNY0oQ/jS5OwaXIbkpjNw6ScNJovuuC0ecE1erV76elvysW4smuz3hfc6UtCM7D+jxE4C25HwoAMI2A7OvNtGFNwlVRfNmC4zQvnm4Rk82/YLVsdjYKS762QWZakj8dClMFyRhBLwS+aLP7vkTSKWvhZzA8rh5OCMvok6hgFhkw+vkG0t5FvnC/mH7jXcmmFsojTwAH2+M/wtDgZzHy8iELrS6d/Yynh0mnaD05yK2VwlraeO4bjdBI5ZIn/ru04QmIhU3BbvJNrqFI2m76QKKXBJUFJA7OYwYBYhh9Sbt6LZ7gmkG+Dz2RosfZt+dJi03Ij9HJIqbOCg1jyc/jetWnK5Sk3YyvkntmYzMsyOP3mTudET9errJU1T36p1PB9hUyXWqRa0J7Qh7M0jMwB6JqroTcrD4n4pPGIHPSRa9ejMHrYbwZL4dcdg4P79m90IMz+/cxyNWqd4MkcYPaCkpAVV5u/EJdqm0NQ3/Or5x1+4x//Hylr37o1HP2nd51ZUqDJZ2mdDNCyp9ntHsbMIQ0sVwicCwKCEZ5jj7zVcvRLi2s2mC6SWVmq1UIu9HZN61SB8Q1pOSKP690vRDxDmXExQNN9GqK8/WjlKu2za0BabpqtWsq/zGoHY+0EgfQkSNrKb673LELOftQ5A+w/48notdWRQ4YKMVztE9tcWafk1LSTpvNjUAVR4oQGoo57eQ4R3I5bYrCySOg2zEg0e0zFnXkp44Vnm0zB8+vyhoKlZ6rYcmQdVzAVzD54swu3B4cl9+ee/v2ypdQBKcww4jLcqHX2cMYnk6FiAdnbxQCl89bwOBM46WhwCgvphBYdKRUAytbd0nFHmkXXaQutjwPDtb+m0n9JYOvjWLt94AQkfdhCACmSigovKdsrk9SQqrkQEmymt9ijaQ02dBW0QrNVDI2qjy0aIEEMJTBPsUb9WLu0RgrDyYSmXuba2qe2N0Po93Z2UbetMd9ciQpVgIvTis02ldR9xv9CUfLVo9sgrc3hYWgDiHNsedcYHbOAiPrJ3z0S0YjVwqFvBtNRlLSJ01ntoh8vSaNXlLY/oMXan1pj0i3WTWlCUYce612ktRCMQiIZlXl4+0cABYCZu8Fa1IkBUTqT4wbZJjfPNj4ykX6b+Y+I0POTK3CTF85F/daF7+mFcoZCY73VD6dKWRBUFutTk1ZIgyxGuGwSPLjEQLD+a1kCvoUxvGhbmzj+8Df8K6lQvd31+n9Z4hWQ5zdntnMUSzHhniWMtbHjkL8XyYwPPJ0K/+minUYcMi+vS8tP+jbX1rl1lYFHAKxA668215uv5TmLyqpd2ewtFVfVbVeuy6iR1v1ESF6I/U4J34vf3I+97lWrxT2gtdI3EjR8R/q/4+m5MOiXMt5LKaoVQX4vApxxiRO0VCeNysgsYaeMgsiEG3um2PpoVpnYKfkVoTaOIQLuT98/DI5vjeqswMWj0h0x63O250BxTfw/v6z5H084ime/4IsmfiWNE/6ClxxYom2rTDckcvwV5qXFnZY2k/BVAEIi6keoLZeIoIN6dMr2b+W5y3jJeFx++wF0IDhcNBU5o5VpTA1TW6Mf4obXPUJ0RX8qkP/C56I0KdP+YR8lVIQtHRIepPbw3MKtkYMpv3KrlY4Tx57/DX/OELgXRsz+XtMm/QQdMcAY2H63f4vuqcGg/WLj/DYLr9eJC23x/jBbvNWmAxEdbJwmu4Y9Ei4sWEsmfoWk6SrTArw5j0MJ3hX9N8xIwUDEUBjllos+AbPzUIpql3QHX/FG1MXFld7W8OTCeldx5s6fNiLO3XDNmbJfmPqZq0rrbdDt7BS3ZuCoXPeYi1X/NOyUpradvqurXLkeBh5wiSMB8fC9wTyFJxSY9RuM7UsryvQJUVW+M9h3yuzQmZCmf+cURcUMBuJamwJrau86khps/+FLGk1PUJOFJKA2a9wsI/zdcZxz6TdPmKhoQ+8JTs9f8fqkRFdCsvJktnJ6ykDGexmTvBdv8Pv/yCSJRS2mxIxHqPXlSLZZLw/opo/pG/+mlaxOlKaJ5grcpPcCTamdQx2uTCPpozBiqZeJjBAxXIrUmU+ULQRM1/inA4m7hUbUG9UtpmST5zmIuy8iBsO3OI5ZVFPMWbTuE3WtcsJbleA3e8AlC4Wxp+Nonp9qBVHoO6BZQQuKYOZzOrGWbZGh4HV/h6qC2WbdeLS2MPExmuNB2jZHzNJRXeuDE8Hb3OesAbcVIC1Te2XsncwVOfs7pXYKrAZxv2FTsRYFIx+KSIUELK0YdsXGrC3/UcNH+UkWp6uhmeIO8fkhk20MSKkRIcAkI1J26jmCacGCFF/EXAoKK1lMH8jP32KOtiLPlEEEX1hO+pzHE+feDNJepekCo56VedmLTBLQaaAN2jTKcyowyuejEFXnYBOYgOv0vHRuB411e/vvqgO0cmGnDezz007VIHGr9mZv6u36029GVVah3MtRle73/xlFlCmN3Qj8eaZsYy8AqVW9aRqyH5/Z0nVwRfRE2f/bDbp44d2XhktkMcbcd67nIMsWAr9BMr96Z7Mnh1aknQR8cgzalRDIFgcP/WjULtQkmPTti7hua/F3qEQqbTOpDXnN0mE/fg+45NGyMt0AOzn9WUTsThNjvDVLD6QbkSQC44luY7j8u42C0hsklU584K7j2hVQyQuSuYypqndX/n9m1X02pA6rj+p3DtYK0EiSSAD0+ozebP0sdKOn9DDWqtYG9NgEe4ed02U9sfJ8DGn2yeqMKJUoSCmaw0fckar+GcevdqNDcO8a11BnglCLX2u6HlfCTw8QvpuC8j79WfHrpZ1rVSNHnerkaGW6y8HWR2Q4b8lnDUJPxc+zRtY/HONWwVjKXBtUqGUkk1Truxx1pXnTV6hbe990M6lk8BlfHoH97gNpaOzBuA0EYqohQskBHisU3MgHB/V3Ev1660hAkPL55qHr4MMr16/6iaWoCprlGEW6XYZAcVuvyKpSh8Ttf0NvOFLjB5LQ8NcXBovFOAgPcVuZa/AO7MvSsMxhtssg4YWX1j81SSFGDF4FF8Nq4SA+g8rwMSx1OLZ5UQ4jCA/69bfzAq0k5XVfo0xoVidik1IMe5Wywk5aP4LZ2ycoGfBTVnLkmUZq15+EhRBVT85BVAj7p01Q8pEB+onlU+D1MCwFslxLR8ctQZz5iG63eTK4Lya9BElNd4n3wiVflIDgm0LlfuSZbPY6++SRVTYktTEoiTEyCQa9VjTOyHsAi/cm0443chMfaYpzBRy0qwFXWB15JDOR+wTZMZuU0GJ5W0EMqKWccNlP0NIDO9lcKMr3R0F07xAGBbTPS+iRq+bF2WvuRpr+ffb2BO9NbQO22f/1bkedx8AALjrpYfaJZKoVtOsMwwBua3n1CMx5tITHfvLhDVgHkAsqoPsn32eoqSQQul7rX5zY0I3LxNoyOjL++ZWumYL/wwDYrgJvkHwT34U4gwgHzEEGfZ0lSqfgUD2CI0SaLuaYTM9Z30fkfYEXFkm+HVV3Rzpxj5uenZ5JpkG0jEqYYjU6fUabaL0UaenFnSJ6EeIQJuNupOA0GAdIT0fCE6J4AXSQhEEor+P9dS0BZHFWxqWEFrjN0y4he6B0HTbkP/VYMpaACrrmvWs91JrVZhg+DmdAiNiJ2GNKCdYbJD7SDrRn5zhM2sC6EZdKKJlFH50Of+EAc99NMcbFvnwcwBXYkVDLjutl0zZSI8AeHgcn5G5FKfUpK+FLspdbPaBEFlFIuXWuGoJO2ifzIoxn6KR3FnCIfRfzqyGas8NZ9oa6qyR5INsF73YTerunw9BczolfNJ67rIgkDOLOldxwYV9VmOCcmdK/1rw7EE3NPhcEJZ7rRo7qNiLtO/TDfz6GdFscBaZ4pa7HMVXG1yq58+6AaWHxP/0JwLxHYg9H358OKfMsIF6spLXd7EYuvJi/H7cfTlN71dfnHmQUmekpAQkUhOvV1K7AWTeOmKgkrSQS58DVdc2iIe2gmLP3SxzTLINqXeBKMYk0W+oDFlUq1AtRdtt3eQ4ky2GhrQaCtFAgGKGjRZpCGd8bfx7wbu5vcsZW6g3Hz1gT7Pm5fSod+YX4qspuVl0FVRWmTQ3tfj45CeRxHrt5HDntWw0SMz2FEqMUmws0OEDp5O4eal4TEegT44tbD+oZu1+WlqepRtRLQescnzGzOeUcwHZ/W4dYqpv/jI/nhwDRnNYcZzQbH/NJjolOcIOb3wJi7fj4MStnc/0119r6pdGM6OD7xZ9baxmNLuIkl9QIaU4utbwkA2OQMK919IAV+RSbuBnSy2xQ347tVe+Wd2u03ru2fr6M2I0hpzPjCH4S8apPLgBwCpUARRC56eFD+KxR6XSbqc6XmrSSfsWb3zBWI6XdDhXc5SVhKI89IxUYtFZU/S8M9WV1ArmjENFIc1TyT89r5dGpudly0A5Az4mXfMaEeh2OKhbhtKmpjT0cxXj7BLKPywuiyxdd0Xts1IT0mwTg97Ao2L8cafFXlw3dRBMSi1uvSxIyGnkq5wBxS2rW9O9LcopSiSheGPSoroCwRVpQ49FGv5gtVzqYKSgIssc80Hwp3fG1UdUwALo1TsKZ+MipAlnsdwIyG/OAyRIWyP9zl1bEwlPfRARezwQ+B327ogqh/dFSq4T0qHE7lT8uetEsIkmDa54/eVnWd6CX8FfUQW9oBp3cpxSL5QOkc0kv2GkYdkNvG8rc8+7lNWKlpe4QIGAl0iAb4VEDc0KR8loFwUwXyZ+hf6ofae93/Na8gUFD3e7jn4o5TiPknKSy5RgyOx3nz7CIEUYtvW2B0IbUatwMkW7YqyENeakVag+CNS03N3qdHHvp6IOiVdXB/wMyXYteQHevRJKwFiyxBPlBjaVkKAf3AW3koV6LEZi416w4YbI3Uditm4ykStbvB36Ih0rZNqoyLfX56P5CjpjmW42ZAWQntr0VKQW5mPXEaV+bu9ml7pO7omn/VbL0sxSJGj4IX+8mx9Z1t+qbJvwlYXQZL7AtaGFH0W40tb+wVepwc331MQjGaETM1UTeVCYjW8USswGbkB+ilzyt70rE7/tNuz45Yw1t0uGySfL1VcP40Ft9KWOAK4do34RbrjDVFAHd/EaAYRDJ/t16zMLxhYaxM3l1uC8zZ/qRZAeWIJ5bzlWIpNNuIk95F0aJyCXfAoITBpQd2EE5r36bXb+uLyfK7LyglUFo/UxkNHKHNGkIqSXJo5d2YfSYBC1dFoDBGsMLKVMrPpAdpDl/+04wLDFy3TpBwgcsJbWdjPhv68aFoj//KHkT0YACuLGjYgXRAplDbRPLQHXXEB9lmZuVYKKkt9EoYxVf9ukyT2PsUefokx/R12GeXmQcZQvq4356EiwE8YArFSQYZvZVoYhQghTK19IKplcBAXoTa6TALuj1is8r1pDxVR9F5Nk2Gp0CXTqWkmb9pAJOLK5cpZeNNe2g7pq+RU6m5VmXlgva0RJjfN0Htdzb7riW0n0tGXHqbGVDEwZPwPw+Us07K5C6ZlCIhO/wfneN3UE16F/JlcrMCMVN0yf4kJ7iIOu73M+6CX8zpYepcnt4nj6Ck3UMrNG4PcMIJR0JEWvWoWNZbHXHj7hUuuiarWb3V7MKEJPb8S8jmfoOlda/TwrKrmsbzrCeHkaGN9PlxcrFrXX81C2TXEUMvbi7hcP5flrjJ3SeYp6QWkSkcZwMM7GipZf8QYrFmA26r4B57p5SWBUqF5qkt7cO2XgLtcFyrC2icuXLRjCvcCw+kVK4KllTnhe4x+1wU00KOkwS/o157Vf3yQqU6OJZfBEyhlGXE1tUcrDE5AU5PM1Sy/RuuRnfHezxX8PyYboxT921MYVfMoCiJ33XcArSRUdcrkW16ZpB4EsNQ6N/e55CyE00CwmFFtTgdRtOGdXyBNBPm9eVv9bz4F4EzGsg3dP0q44ExjYxpuA4gMXbgsS9eYCVSooW2niQBHPDNCim92BGUpipXlUwEh14W/kTmbmcWWjEZ+C0pTSZ11FTq4mGov5Cx7nE0vEQsnnSjKDSDb5xBFj2cNcObxrVhecidkuFl6bPk0BkV8DYpQ3cbQHc/jE7/1EraAsChsvx0anJ5HwaZL3gZ/IeHIjYS/w6Ey6TRP23JYgHDuMjD1BJH94VBydi6zgpXb3h9YWej8sIWZQI2utJdc6lsrl4UJ91JohiWK2Sd4ifhUdB4JdeFHmwNGBpSUilRbs+cQKscpGHLqDVhKpxL9ruxwGrp0NtHJmXr7QBMKenIg9FM9e3F7roCw8+wDRecrYguoLWJGk0passgne9FmWxX1D9j1ReJkRSWdD0Su89DNvFVzPENVIshIHdw8b+2Qd4K6OOoqnoXNsRpvNE3bLNTRv5DusKsZJknNgH9h3+OvuL+HALzG/bOXU3nBY/YXZNwKkvPIdWskgUMUwdur/F1JUwxr1h46TanQT5ykojGHuN8HDtCqWFYVTgzFbw0W8WfVjvue1d0TntgEOJksbr7qTaL/8TQT3KBsDKEy/qU7ijluwlFM9BR5sTP8euHun3pGtAGyjkDIznJgn6KgRo62AxYHDYqfkYKKiiUbeFEYtf/JuoS95G0O4JUx/14gyMBMZfnmqQTXwKiUnh4NsZi7hqiIG6oDhiv5tPWevN7CQnxRKAxfYcI6iL4H+aEOUXw0Jpt3HcEVUcPIR+hrwBsDsQvfojJZKAvrvnAiEAJGSHerMT1ESfVCk9Df1Wgu6xlFJWZDj20s2jCi/bl8pgO/PwO+w9g9lZFMb8W3Tgovk4shVSBav9YUSDatFAlmMTAavDqdc0lPwEBx/xnE8o7DC9FumhXVFKvYdfgqr9G7W5+d+S8ZTuv81t73aVyQwbP/n2gXRwesNRjR09fAAK/c8+FORf4uLBnep7sB+IqPPKV2PqUTINIRw9GtqwbnzuFDXirWYTZnRoLP4uUeujop/VsltlS/U42gEWkpd/H7/nCGbp5PPBAhNCIF+HTtAFOh9mn8+TAkuR0Y8WmgBe5iYrGv++uHpWvyd5LT5WGmtnFJpwekp+AU+6NVKBtjsE6qfesddzAlzS9Mirrej/z1MxRVK8n8oMZHTl0mFLqsqidx/dF8ABYm0zk8mQejySH5aHydE5EROWlWjwGydV4y5L1N8MYcLo3wtRMCcJL53cwKhudyun5KTGD30o3hgL9UhPuD1ixb+e006GzGjSRSMe7yFdJQLqnfyhFMubDAjjA/0I+IyFnBykNWStyZFXDhYgTCODxkicGvX8N32oXdRYwiwIXIpoia8J9eVa9kFEsIoq9di4TzHKGJWwKTID4y/fCal+5eyladfFSmQZogSjXLSt9BsGbq6hggmuCEA6cD6GJdYHvQqsCxUl2Sb5w3EF9LXGWMtsxtW083KQGXGC1DJIji7/RVRfk+X/Lk+XKuq3nUCG8nxot7+1Dg+qq/ZXgJtaKfJos1wl4z/9aENt0+NkgDfCoutKZO8fXsRx36UdroGgkhaQsBoSPaGnpHvnb5+IqP60UBdQeTsVRGzUE07V+1balKBAJKWgTzyjXMUuaLFKd3MIfT3iQAJ/mC9iHRTJS8LkK0j6kgywLPzy65unzsp7HGPHQlFTFEtKDENF3TcmYy9j/M3mV6z111KT4HZY0G3JL5FZw1r5FDgr4idw8VIkxKCBzB+4fG3KuwMQv/UCQ8Tx7zXhRdtfYlJ2yxE2P4kLqQV39odbd7WK2JCcdwchy3z507HKp42f+uBM2KwKdnVifME2xanNFrSBT4u+B4QvTgtVmDYVrYRpFnUcSRflHZ3YwIUtL0ga5jpSd1On1UPGqbiKg1GHTM2ezmJAgqFfaFO+BZhJw9kNQ5cse5BdoLSdOxWZqdPak7PQEbrMPPhPEZoyuRYCPycnYeK1HxbdYIjfLtpgIeS6i5gje8fN65Yea8d9BkCVJYMLzYtRN0lfKcNC0KGO/1r6qFL3gGBNsgo7WsCN01tfFRGrfemyZTdCWuO7wPjv1ovR01zdsi+QCJHulTawkADw1mf2PehChNY15werFCzkjOvKT51HlVxrfJd4udy9E7nviwTfhfD6ZE2j5NrbYBccOaYSpkUFD7fE0y6Je+JdDQTbOZc4rgaD7Fc8VgRxF9i41q3tNXY5fWHgFYJRlicOKD6jZ7kNtTafYswj0R/qBt3s0hv3dHpEP7fIbOFdFmGejC7J9RHB4Iq/MLTHe79BlJxUh12ZUftaX+1kN0NNYPsP+4EwksVOlipcIXZlzlCHLxRfjC9BfeyB4KL/p9HqmkDJFXMcjR9kVuVpLOqB6lRr6p91JYrwSez/FKaYr7PvXE2EqfDKb+KcvrYpydJlgZ55DXTWQOOZoAQMY6XxcfmO8o/DVE5iW9+pln1cYOM8jS5p9eobnipbrvUlfGT+rdEuJFznVy0G2C8vZih/rfX6lL2AFS0maPChacRIarD2H0hNbSzLht/RbGE7TYN/zoZjd1XG1UfTDLdhcYiW/IS7C0GuByYE/jhlufu6OHA5YnBimHwK9pxl6pAahrDBLbWYkaUz2FfxYjAUHwukfpFCr/DX/8svLmsu29330hSIM/WNtUPxwrKNLc3/o5SY7DIq1PyzkpEBS1OARz3OT+FbfVR6EXuxtX/dUIQqiHDYJVrPITm4TsjxdQymZrGMOPgCdcUG3lvAuPESNmSFxS35qcjkxTCmwofYTqPivh9G2LN2olxpNLqNu/o+9lNCTeaQalQonBxUqnKoviKcC2n/QsfkUclYsd9hXZo1QL1i3iasSEcs+g2lHXYyYlkGbHTQLLNFli9oOpLNk4h9K9fwi+6HCVmbnECwi1FsMraJpi4xG8lQpOqC5kYyM8yXI8OXJvSrtkNMwDD2HOHgDkrlMiFSiJSARzlZhuGwPg52SMa/TUiQwxtny7UKU1QqdEkzdG8iI+KFKIy/Pwkw88T51+Fhyq5WHc8zwCHxqyJvPVj2QjqWKOMY+NkfOX05w1oD15EMD3ymajSwN9KU8jTo+ji/IDLRzIE6W5L8UTKOGBa6KswUC4x9+qi/8XUvglnjRYSS3Mi24+WTg0cOICXyhG/Kr0nK85Er4IcQ+AVmD7OC3e4kwiE5DjFqaqtRh2Vn12CHNo7qXl2PjjfwGWc4TtrYWSVBXA7aiZ06Nr6u7u3mzxYsFDU1RVc16dOnVtTN9UT16yTf36U10awK8K1Xm7gZMU6bcWeDQbk/wf4BmKQL706X4cWn9qHOAJSopKUJomMpuUFpLcr8T1Jrv0ARtHHcEA0AHZTEUIuaZW7Ei1RK6EYnnjMfIzWuXSo/jmdxUAh6xHto19PmDN4ALqTH1t3O26TjGgPhzGwHcLnj54HfiES6+mmMRbB9NbIxgm1ihADojE1uVKzx4u4mlRirKpjsnDrhsdyNUOzgBhD5euGzjGuVrNCrvM0GY07Xlh288bL4nxNQ7GYPMkd5WB/xQHM0pu9ZaruMHUrw68m/nGMiPt+6uHjryT12QguxSxDZkjf1qnPFIZV0/h4/MoVDF9eI5jzZqdy82pM6IU1t4HqN4Gzoi8Z260qIg2TDOeLQllLof7ny8uC2OjL7Ld9snEAbdqdwMzXFP6/G2KTDCTuSKigcHTKUPEfD9AeuUlR9Ce7EsaYZRS6Io5vHuk+Or801/8iBDWz32Efs3q/H1IVm7HkVllRmtniqFhqXPW1msX2+CO3bsg1WElJ/dm2gV23KrrONHxheD/tpCJyMcWTlYK/8m3brmkjctPQRo53pcc5iKq+oKk8eoU7k1Vzv9DeYWFBAoKL1QGABWrT9zX4+MI7VAhrwH/EuFv2jdSjBvseJRv9Ct76/LI4eVUsO6Kr+kHob3G6Q5SbqJqf52V2eQZVpU4hmaSiRSgU5jmzo2DvssLzup3N9/Ckhl3altmf2WpVIsqefs6EFs8xtlC0YkGixnyPuvAG9kQqdIzJkyZyjb7deQNNkCoK67DvST/YEuFd9TJ3CsP4rvri8ho8ihV/iBL8XcSFONacEkfG6N7fe6/h3eprD/AI9k61gziIRiRA11tmfZHlCfYZKXJ+D7nIPCDWnFzjl4juZyv5EUksAggFtcjBH1lHnG7HxNNQqqvJX0tCl5NAUNzOQzio+lbj6K+dd8Q9YfdJnTmWUu4OQVAauDMzG7DJWBAr2QYro+Ojr17qw02oPs6s6IMg5FwiLHdg7BVCNWs4d9oGbmRTNW/u9wjfcalaYG+z1EGh1txNfjCfrsRxsyQ8HirNldQOV886TlWeYwHCRksi2VlGgfUfm4EXZh+Mqw0xjYBziPcSZ7Jnu8sFU7AubyFHVtvE9ILA/otRqH//T2bEfd6ihseA5WFskMGq8yBNyn8LCQfp/TEZSR7RWry097biYwjG3RiJixqHoLOIDJe+auQyV/wMZ36Zo2gU/IvK+VHTPIO6qkPTq1V62VtgaL0St11Phcic4/sBUYO7L5VqmpEdZwSxtQ6iyc2Ppyfj+BBpgW+dYThgc8pxooWRTW9TzcU7rur1U+rkyUFChWNGMoef9bo/m8otpeYYzAJ0EBYicarbL9bjLPLXJfQDe5KN7AqBXMsS93WLv75nJ14OJ5A7TuUHU9/U+evUVrM6NhXsrGtHrWjLF3RiCGA+/0g7cvfZ8kjp6jPl2zYGut+K9KNVGtfsGK4f8gxnwK3KVzGmbN+yigiCaT4h/c0g1DsKTNxJaCfIMjcnNlapuGwLVkQX3NHkobNG9uJjcIoPM7V4NehQBVizH5VC9YOijjAh4rD+OOfG0J0d6w31WQU1U5WFQP93iB5uij+15/wiLyHPCGekpB8argvFVidI+n1nJvyuYHihYH421hCp+tA933HfknzMFPbloXUuJJ4SA9o4eao6ELnaq/NK+lZ5ckWKSUKToVKKNZTON4TtNXig+rKghX1kDXIL19Re1A/Ung9Acp/OBpagidTbuwrcQtPdjyAndpp1Wjt6WOxTuqXKzCC2vCdQKPJQs62xlf59Ws2MRcD/HWr3X+hJxnxSz0ymCZdYFOUzcsYtcOz5kH+rpDmNCmz5yxQMzQupJGy/ardifWj3ml14o3WvrvdMyUMnVUfvTjksbtJxRl2XMZkNF9qyBZVFxMI1DGDc7ftrHDxHaz/u6hPNmQMsrDWN83wnXs3bFG0iSFNhurlKU4nfAQWGpdhtrEZSBuVBLFNV2tq/vowz8v8jXgZwgF91wh87KIrxKZjoh2b2DyRgQRyaBW+GEQmqQYVg1/1CNtcPjlwbm/tflWHlIELrSQDtUld+PFUkr7BBSBpnTOaDJwp92FVEAAqfIE2TfWPqUGnasVAS4vxB6d7F3hte81S4NPJR6z/A1XnyfTI5yt4eeqa+NyL8amk8gSq74DEiQeHN0fg5VjoAYUdUTT4MwNfHfCPE9q8v+A1fhmb/gbII9cmDWSt3GHP4JY6fUq4+sWR4hD1FRUsCA5CidauVOfEXzTFJfB2lQVXGtws3ri9bYKCNESnSGXubExDhqE2CJyDLoX9FpnzjMfXh5fR9r3pe3KHR+GzY/cmaXCosVUqOkcYhP/In4XB/Flx1eZkhrk4KmsUkoO5xBy5UhmydMs7LyD1lDPAjFZ8rD1msNPdU3WOSBxbG8x87hUJF3pIVEZIhCp3Cfam/cY4UgzX7t69FIXpxkVUecztA8tnZ8MFZAB2ZuQ37wt+eCFWr2e2o0Hc59gCMbXDt8UyjnP9L4cH7Q+g5XfHmc6sE0o60V0rEVusjcY0teaYbhVVdRr3UupapVCcExl9zcGHQ1SNF1wuhQ3ruYe/0xgoVmtw7rOPjm2Ewil3I8IbFdWkdoekfTpvpMxfYVyKV3gYKEVEX5BDo8vRes+ROiGDgLB7wWKPF6Z40k0nANDdwXwXLm5AVA3THdvRVW8jbMNHdIZKOK8Rc0ucQK70MWGBwmiMCMebtNPc98EkqyoSnuUTnO/rYSqNfhiIF6B3UjsbhFZkY4kaG2xOUL6+7LkF/kzId/TJRhsJSZZk4laFYAaZPCuPx7Sb+JLLpwtxFXMSLzsYh8ap5s5rveYpgo0PIjsxthGhUw3pg2l5WIP4uUPez3mr9QX0JUVRmiUyK3w+w51G7A3hwZfXFCphpmKwYDu/Au9x8r8++6bdAO+UnGx3N48xjfopiMEQM1G5OmmDHidf4DnOmJqTJEFKyV0/cInHP2MqR9hGmoV5YKeQAN9mOYitI+s/hqfXtiM/l1n4KXwzfbLwwz8RxOXTKnLE+U0CY/vtHv4DVVZL5wIlEXbIcbbrMXt60CAOi+O/b2EkmvqCbY/7Tt1ZEEAg4yCrQTdhdu7U0bsm6EGt7BN8u8t4z/Ed9CuenIUVBt4lvVkxHqOqnGG4DBatXRjUDR3ItHHEopsiU/Q6giSBf5vfRuLEtnRq/ckvY5UwN/Ud2d/T0DvCW2TjdJSr4RCDLvdOvX1+DX2VkRWqGSSw1UHu3AKxszv0SRmN4VJf3WFvtytAes6tQZkYy5F0XKeD62z6SppjRTu318oqZD9+bPvLtGJ6E1cRiWjyUVOp4JlQCv39C9XeQT7OAtpFHZ/VWuJElSNBE8NE6POPegaKC+X7dvOhl3jMHu9XMZ6zQsVtJBK6Gav2c5Wp6sThja8dWmZVRUZIcjH/7wAKOUWIAJ7Hiz2tFVklh5867Dc8Jrw7T+RUyTLzVUNd3dqQ3UHGH38AUTWfLd73t7QNY5ib5EeEzk7alwwWI7iFgsX35wUIjj8FeyKjP+Z8lNk2brS8LQaxIW0Loc6ZGe28/o9AoGaWWUiYmAAUa+UhthvI9dkitUufkPaOayxyMPBweSxB/ZTX9lIwBilsY7DXLFzAqmEXrzbF2hsTsEC1bJH1JtNOWBo9834VqD00Sm09muJuQUAv93AUK9hen7wWEz0svPERTa/xLI46/KlMyN9druEWif8yQgDEB5KDCwccatcPhuWHexJ0IsMw1P+u/yQoTNt0tTQAHv9VD/lOyTylccfgO3QQq2Lo4mKaLBfWFxnmcSjjquEcWzossZC/l6ajGkJqk/yqfnMmkVEp7h7Cm4TMDSdzeii+pg4dLspcyokyS7GoOw6kwOuhKy0qxxUNqGyNQi/Lhdh/4Wo8axddoDSSGsTZMsU2t0Qm1TNo7EN19JlYK8JhLnzKt8I2Q8Js7f+Yizrjt4XmSbLtIXW2YrgTiJgINO6bSqOwtxyR0i7x+YB562ys+uEDDHFMtFVklEMBhT7iIG0kD/jOAvAWrf2z5cC+TbaEnQaEglRo7OEdJhTOcPfLeDU6sQoSqcxRw9tw7KsFAkvn+WL9brTMelOdgMkDhKEbrIYLZNwV05OzyyQbOGqGRyy1NACWTBCp706YrHELpIp0lXH7yk95by/Q8UQ84zStg5+VBCm18vgY6YDMYW2u7tF6xLwsbL7oxj1dzPMm4Y32eKmRDN01j7y4xvE5lQ2UNIDw53+lzIrVIH8IwvR3KKL4BQeMUEFOsKMI2cAA77gPgoZa69Gq9+8jrsPNgtlwiqA1Wf8ze4Q0Z22Ep2zAhv1lc5dTD6A1lrSjbBE40EqdWuF7lWzILGMVdRKJJZbSogCCw9/ZxQPYY5InCkDuIas/EtfLavriJrFXryp0C+HcdC3/P3FLi3eUVohoN5D1JCwar3jx9vX3LYE5scecBmDjyVmV29q1FaIh3haJ5BN+MhLjnFot1g1aKhf7+t0IEwSzLhPo8jRDeoyuOQOupTOuqQN7kwM/XjHmb8ZHc57FBsWOYzBVncQMyx1xMkeWFDuZQnZ6QgqyDnimQsF+3LqbqLpiTsUVJHhNFoDDgJr4HtnI2SNktSdPP3ZP26cYsQf35Gbd9JPfwbJaGhx4XkhWbwD3WWRhdeR7YleoS4k+SyBYlUBihhdgvEKm70FPq0CC8DOT3fWE1csogVo0/N3mfq3bvsGh3FLej0ybnWzUUsXLNLLRDk9CbEPxnqrSfgwSNkmv92BcD4vDKmPxdmqqjRjQMoZ9h9tp/a7Cqf24latnfhs+hVvz+sy4LsyKdUtU25hzR7yJ/Vhu0e9kF7QjMiVI9lCN/IWXFaPagKFWKNTCaSWUSzd1Uw5VglUGJrr9sjvGaeEGXQho4A7/EYELkdHWe78np9LyaDo7VezdRUTI5DLo1PJJmf5sznWZCpQ7g5Gnh8c+O+jp/MJbJkGt46gxXJaXSMNFU/RDrT45STmkYMKBXv3wxrHSC6UDDQE8t7hfcHZaiI3lTQ/m49+e4no9rQvDiLW1x9GFGXcsIxfHzVlFwpPvRRFx2YwoHBavB5hENZF0Cw/x3KQ9v6ccmEKQjfe8qAoLbXfFxJtVSUUT5fkvkupX9W9z1v1oV4arDLbOYZMBEmUgLYU4f11W9NhcUghjJXltvgve3PMe29W5SSyONuUEJddSK1YhRcvNKDy+T8Ja3DGpWvq6fyqRnAonVfgR3BX5Ly5c7oHs3fwDtkxr21dY1jDfjF/qe+gWoy+B2ZZXjLUlKrwKZFL6/rOiEsd4d6viHCH78EAxRoUGrlcou+RT2Z/vqlnbdFVglipIzK8GT6HRdtBvzG3ANUV5ACUF2ZS7mlpOH5Lvn8bKngFvxh+4GUZOSszaF8LGfLNmxBpgZ/HFu6T/MM6jNl/c/4iUf8ofACDS6OgydCqksqPdqLBDewCoFR+ekUxrAM6EMSrmTC+0B7qZLpSTIZqIqLgmN9y5Bm7riQFvXSOKCvMc0Q9dODVurj8lUjvxNeKExROgL5dzc7M01uY3R4ehrITO8e7iL6TWDlVzapowakUWOvyEr6KpyvpwuOlDiEN/upccTk87QhMgAnRhvI+pZMg9Ahmaq+8YrdmL9ZvXYFNjpSKppeeQQXYH1P/jrrEALmloAlvsOKBIi+g5S6dtnTliwVkmaHX36rRKturUYqa7QvSOKY0J6smv3eTBw0MEeaNeHpkBT1wuXszo/NUAnLZ0oBkT3pUxEAa2Rl06I5ew9yDhDyjxaTEFQcU8nRYJD/42tIUj21qey0upg+OBaIs2IFaMmkUwlVgB/G/AgBJj2JZvvy+/cGv5VoHwgURmWQhR/qfZyE1/ZEFH1XAlD16S43cdFHkOVyH5J9l+o7EjAdgZizrSS5+uEyixh9KyPeBWixXiCMcyilAY2uj83sv50TQz4RjhFsvutoOUU800nAg5ZlSQkSVZyHNeVlrgB43/iUf+m9+zWKw3jj4oYzT0EyiqKuAMEAOAiBFRlwGrtn3IJfN5bqauE4+Kqxn56GfN9Lec3nrZMZfJRyQ6CCVzs66VAkq9EsbLAQ8nFLt5xV2sNXwNDEbZ/SzGW1hvSOV7ywBHr7lgxwS7j2WtRXD5EE87pCDEjNPJ2dzQ5T/KsU6+NiEkgOMuOSh8oDpyeL+X2vlD4ddy15rnfhU4YL2+HrzE3qn3CPqGkaahpIOS+WW8fXQkJ+sGx8eEEfyTD0QbYurCfYigxJGGgrFVYb3gz5Fko0qB78Q9qDgA6mJqv3VXkAWoyC8813s3tLQRpQOv8IUIbeULV+vjdIsHPwGB08aatBHHOaW9ePKFnKvbrB/nsm1jvsBcam/yhZKTMRTYqYFgca/gXsieFvSYGSOSBGvLBMOawa+mzT1OlfcZlTiMNOPrpgGot8FjgIDN9DnmZeAOoaKyKNqKfIkxhocdjR6TW4uDBzJ5CGr++4uzawyXB8WYeVGNJYjMUiuqfqjKZTietJ+rcxtRscP0SseK2mYBzzZp3qE94Jj/LTassGKyKN5ZyQ/rzjYuul7qFEvmUabZKKuTvMWkYn1EpE1Q9q37ubs29DSULF+yr8D7btc35CBeevI3+43Qr0PTvue1T8rj+56+/FwuVD32lojGUxVwMf1tRN2xukTG4QS7Kp2a3HW8dnRvvLuAnRf7UXfbK7Nz4E7Q9jo4CX5WuJK4fEgZYTm88Rm3JuzvZEiesI7us7q/QsZi+QwMDr5d+yzrGYeCetzBgsmnsIJAMVpRXvBxC2WrdPkyBYkjZ/0Ewnr6Tz486mwhXpRyVd5o5kDVXAvE5abkqe38u1+oEe9R6OUpqoDnFxn3IXo5+Z7K//U2CThm3IREaabf6GIEbSsIiieK4IXXPbbCDL4eFb2nWXoA3545yclJHqMpv9ulLCfIigeYPAzaQwN5NX/Rmkh/183XAxT62RpTmGlYJ3Dl64aBALX9kiu3roe6QlFQz0taKJW6Na6MXOL/ioscGeP4vlKgGslIl0KwBb/gPEuanmf/nmJRUloMxkvwuA4jB1Yq+UPIFoa8Y03O0zE8l9vaKEqFC33f5Cp3QjJyaPQlpuxtndmU7vamjqKb3EX9cR/WVzvJfNXtGrZQMlUhDQg6QQvSQXC7OpLmT+Kfk9vK9Wu/n4f/TAwB/e7k4nWEWgCKZDWBAOdkeo/aro1ZYJPQmcTgvu7DhhOrxOvBuprC1Q1IibLBpzGH7cAx7ygUjdVl0mGf8rq2KBXdPRD3QXlQbj5Q/rtE1fOZgcrHDCFnANU42inmv+vnxDwEwy1ZtH0thvHgkhmeZBHsnOBq7KtMroTe9NwbQZnqwvPDKs45+CO7kk0sRyPjEdcq0BKWwhtcJEuCXQF4qm5gf34ZpXDuOYduoZqal7fJGs4Y9YtSQp4tO15SO/3rtkt/7SBwmQ0o8/9jWK13yGG0HkDX5SVHOFQoY+bP2FS+OnNSRCxMtBBgfRIrX1ONS0rMbY+eYSuZKkFueDFjvgx2GVx0OCHLdE4fhkwF87/Fy0TZVFHb8GEg60dSNtlXDyaPiFf0GTRISaUDe3gAfuvvTT63nMIQCMJWxwdz7TuSjxK6cxhlOgTnaE3cLKTtzjX4xYar70/Si2nXpwGX116FBD7HB86Bf1Qs9JTEAGMXGYSVfOwXB2PKBN0Tl7rBISE2dtiKMD2KmHiJWhgHteuN5QkKsBjLoGowfQtuExX+mYR9C6PamAWIbGxWCIXk4P+skIHWheWIY1PCVCwsMm8/2QGRrYFJ4rlzQKACDnmqWD4QP0NAc5Uv2C/7n8kr4xAVPnKs88fldy0PscyMeJboJdaxIi7T08Co955ib+tvh5ijpb6mIg2zOueXwkjY6xpgeDeFtzgWRUhCQ3y2dpD6SJCVG77dsEzgMmeGFAEDYE/ObEe71jHqvbYUXyubHPsvQQyHXNzvQDDB12WWOXzcoiyC6OHsJ31ir77nBUUzIcuULvKl6BDT9IvND9mFUUWkFJobIDy+Pl+5PDSoOsKxfQGn+UiPKxJLDcpnEnhvX6oddOz/aWkTfG+ZlFvRyFJDPSAdN7Sv2fd//wBbIl1krIW1L/bVVt8Uy28Y+zOMWUbC4o3Ex1eSJRkaMRVbyJy0/29ib8yOD0DwzKbLw5+YvxeAOsKvxlfWu+d+lRpjBsSQHKSmKFQaPLUvi7/dmAywl1oZXz1U9KTRhuciGQv1oYXG4U29dfsEyy0guhIN7KyblXL5eFzNSsc+XQbtxZKV9xMg1hyASg8zSqCtyCs9rKPix0VHCRkVrvM3l1+1Y1VhEHXkvlGwOWNSr3ICzWEe9klRxjm15KYid6TY2SAFDgzgEvjWBpAsqgh8QyBhU3qiyDkYNBeeWuRB0Mw0/Bdc9Vsn7jDtguxZWHOoWqnBp+iy9wTEXFk6ZxcQ4SXnBKS6eriS+lp3bV+f4Sumu5sjwKryXsxfm7Zu0lsOvFUYpGb/Et43Tu6W22CvKApaFl2ZcXqnmVjATr1n3xd2ll+Eao/EG9nZW2XknZBt/IjfwOtMjIq3sumTW37izop9eePpJxTMfprvTZZlmIxJCUEEe1EO6GztC/zYbhidjbG5PWdfLlQEav+uQJ7QyYP5kuVUu6ws3Tpc7q8eUayYrlusUl80lDm4tzFHKzp1NWN+ILgXtY4b1zAl8XXwT97WkwtkiWYaf/H7X25pnXWLJ0s7RR5/WLVHwtY3eApZybT1+I5dIBYvhBFB9R6+bdbx/sIJ//D0e3wvZnJ57KVDhctNhQSKPZWPD237DXalQcHdazuB9CZWRPgYNHzhjLcmecV8rSAQaZPd+vVoSIQOpfMlZRkhj0dZXhXYM8zaKjU9Ho05/HB5bEUocEDJ6JUlfWAf1hQ+UnLWCFB9RiEfFNXYPPE4wKgN1deQt44KT7YqOGc+CdqT+Dr6ub9+tYU72Bp+PwT7pMCJ6N545py/gw31P9i1BPmXlPeq+3zwLDJc8OIpjjE536aVBfy1kGckJ5Teki1gpAeA7CuW1DFGkXWW13yPBFU+24ShsLHd92AGedOptZv+Y0XDXbV9bS27QalJxFSwUUI2Uqmb083x/vbjd4HdMSZbfsV03b3e7mCr3fVk4XpEL1gzL9M0GGk9j0NveLXAwHcY3INm4iDHb/rDk4gU18NbqIJOv4WxGU8vWkuh+0DoxLp6/zdZKvcJ31vm+xgcSj+QDIEGsEMyPAj5NrrOve7+RR/MLrEHxOHRt/FOKgRpnf2wgz5iB1mzrXqL7laZsYpcqbRXcjR5dG8RJLKYBbLyTJQKkfzFnn0PWLIWTa5HBkhH4on1BPc1geADp2HipPLp5Bhpd0UWbvyXKi0FByk58vVdCwczVcEF5dEhohe223n13E4k31OelQQBRuQjNuLWFTBTYPZJUIcZr02ShoSxA6cXz0Yn5hni5SO3mznza2B9qDAAtnKeIDULfy1FQZ5S9mJmYLsNg8W5rwPTw1+QNe1GvsuqWm1R318qKaefqYMI4B5HjxeRMZZqu2O0DJzRB/YZzU2xe8Q9k6bBo4qui2Z7BX50Xwhk1H45db5gZaGwmT60jFimzCh0M320dmg+Vbz9u6wZ8TLj0hA6Wd2UWZBytE/ozj/Qiepf6FsvnZWdMQ/AolrEsJRX6xYLpyzDvDq0afJ1pz7by0eytVXoPuoXzFZmrahZwXp3RXTYYnQ/m15QRZSEprEYD898oFCtDLBE+JlpnanRcVAjBrLur+aGZ1jCdRXTEFr5T9iKSpAGJk8H9Sw3JdEvP8YlYSCv8ASCUCQuJFMxfz/LJVYsMqYX0r94Zuafa2lknn7VSQs0gQsPfyA3o0byRC8lZj5WHEw9qJ4RbrhEgRsqBjU47cJLTvvp70KFD20wuFVxZbtM96syMgCKKqq5WZrSxHeYM2uhZcgeess1sdAk2MwjBhbJfC5pu821R3w2+isItnddO0MDXKxHUpzp0iTcwtwl40Ojpp5sMyf90b4dTBH6+0TlrWv+NiGuQf1pjuLzjjhFuTBWxXdm8Lp+gz+gZfLQmhS2kppj6iIudU/VOd5KLPRl5/pOKYDIyV/Hb3dceVFmcXFhd1cKgmjy8ZaM+NJ1ibe4dbY5CEFg8D/lA0en/2GVpYmN+glLShP86MDMoizEQtueyMFu9ZwbYHFbCQw8FXSii/S53r4Gt0qjxdsYidw+mr36qzzY7fma27oaFZgQenYtyeiPJmMrUiKGRneYTy7Z1EDYZ2ZkqgvEWcnOioCNAVIXFFhfeqztU00iTLuh4REWQmdw8so28bISsFCvkfiGSF/S/NdkNxgt1NZXUshihWjT+cTuo0yswcPCGmcTIK7BG5orrQpf6G/Gk6UgZq4mSAClulaCoW/niVSTeaQAshxGjdaT2pQsk2gshvqJAVRCOf5GbsR2PjM9hhtMOzpq+yDHxSzPzm1PqWB0sR2yoUHQ3sslqtQlVs6nBnsUIrvkVkBVqmwBvXVg2kM5hrvvCliymIgDbpPgbLDemIalbcNdJnYYt+uBoAV3DAukTQGwLD1pKdd/Gq8pnJYhvyfHl5pslNs6nikHWQhrrOJXHsg3pNEmr3lPWCCbfkJ9kaxl/9ImSKTWgV3Mnnvnzick4bOhM4Z9tj+0AyPvVKZlg+YD1VGX6TnqRGK4FVOTc/pXN5Wj4SrOY5hnYq57pV23i+r1QGsQAXsZ9u2A7h5090087/SjyI/dF5hU6VV3ABbT1mL+vsInlTB3DgXAR55H8YniAfkYwUYEO8HpIwmC/2TlMIcC9aBEvvjR+53s3qBgUxoSmL1loHJTGKPU9gk7BvgtSSvFM5D7RFlEUIh4sQ6rp5cfhAgwSxwM4mjA9TORKfLTwZAQgDDd05CfNmqfuYT/usYDvy+pXrAid/+DxTyuCdvtKPeVVWD52bpwMnNWuD5IFOxQYOR2lCSbm7XJreGKaCM9HTuzi9YP840Dr8c/ZJ69Mw+H623yKQy6nheHAZDuCai00Y2qYULBSQuMJRn7U3TYqmqHJZeQCZ2J3e+iTJdZpYamNlhTegDccD2fqJZvgHsaafFKxk/1mPd5mAR3b6yw7uk42wVnkTqs09wrsa2vWJQnjF8ogJ90qZI4GTVLCbou8oJaRyPXpj0LDLysa+xQQrKQS3phUvaDjxb+2VCPtTKHDWO6/9jrJScB9qIzIqC7/E7kLj2WOnMXTAZFkMGsh1koxU55ZjkgHhz2PZTRf0BQZqbcsvAKKfbTXsMUBYwbQ4cpxNfvn3ug88JrWm3K6b6+wXAVJj8K5DMWEL2m0j3dhQvQMtcsGSjiDortdnHTRsTvh5Ie2rfhBbSpMbXwOk2xdYIBv23h4VWEWH+mT3OIngIZkD6GyYLI4Fg2ILEVm1SWQSKnDylsr3SvqVFzSWWR1tcf9W7T1nCnYBXc/2dUiYppJB2A8/2CZhzMmaLZ9DJyF/ZyzHIYMiGPY4aSoCbX/c/LulFWRJA9vNIloOZMkN73WfwHnxdmyM7m4824qQKHDmvXgIYwrAizMkfBCJOPsjCNanUh45PKhBNWQ/dJomLm9wiKlzfSuTsKIm0pbAMNusy1VxX+ZuDeRuQIE0nix8PKAS7t6x7P32NMnTS5KNlksbKnDRRv4C8YU/PacYVBmAh9vw9QK5TcFJ57QCD9H1TDjIlbx7hE4DflefX4iNndlD5Xn42bye5kSMW23lwk5u9Nxlh1kmDlS+qDlEJ+WfzGtHNZBDdRA1zs+uqwUGVoQ4lYoqRXosdrVakXya+uzl4aI10BHLGoYmk1uY0wd65EuE83dZBwabrEhqoG1XgPCaBMmM7TTxxJM7uDZSSyBATDlfbzBdlkpnWvFMHA6a0+ElW2klau/CuWkNG+3Y9h+UOy1GFPRNd1mxf5qs7cmzUlmGNZhFdM7BgY5IcsxvApWiGAXzawzXqky8TY9koW8BM2rfWqCHMtCNIlkd9i6Y1MyZSaG8umPznT6BST4si9nTffxI/r9fxfhxVHE7Qe98+ma4GhRPNsTH8IPLnsrnV/EQih1SCuZ97zAIfWWasB+Us8iHGrP+rCmWqxMVPOB8DAKs4AoGqtJGL+zpUNrSTR4WnP5ucPYqeYFkggJpfPSC1sgaxf6+79myiqMvbiDiNde9ke9ZHWBQKMvE9h6U7fuGYe4zzjrcd7PITeuicSE4BFl00EfWEdhsWstILUmXkiZPGfP+9T5pPVpTfeMCceBJp/Kin4BjWt8eLglr94+hDBxXJ79pyjrdtUxJejCQbLXQ8etAkfQO/jAnNIDk4i6Bf62nH7EDbhrEy7dxE95KyS4qhlN9LCbvETeOdat8E4+1YCT/kMGqmiKeoTk6aQu7KGEqAs9l1JQxBnriQS67Tmouw0pPM1tplF4Tis0Q3xC0/FOmqnv4h14Mi4XeC+aKXeyk6TDta8C9nXFb2Ar7bi/GhQSVa17q1aotPOk4U8gxNTaJ5XI1gVg/wTa22oOTz4aWTwsEofP4fl8RJcD+W/9FQUxG0LkK5ie/oOQmKT8io1ogK7uO6sTK+tXUqFcF6V0Mr8y1eM8y9X+ESiUpkUFiWwnruaTbKt2CVoBaiVuk16fK0r8RPZynZy1vEB6eAjqaWq50bq8h2n6iFNFw4PwXtdoiRH+OTYf93euC+XDb6I8J37rBQmxV1zsPlaUbwJ2pdMeMmB10GuPHb++yGfUQq8PxIhzqKyYfNUyj80AIAhsdwGLCep85mM7PMIk0U+ByX0tlqJ+HQgcOE/mLTfxqIWG8Hov8beguVwuAR4gWeMjPxOI5Xa5LafbmU6F6QQmXagWzw9AzwleALix2xXbIRb+toZxJWEWFE9Giekw1kdmcMqqj6pY7VPnQ2+/gR6w7jZ6UWbL1JMSqalQvI+3PKP94fk15RGv5H8R4ty4gDtUTkKiLXIFmuRWn3lA2PjEfD8PTumaHWlVqK6LF4FP8HIjE5nmO1aQfgFjiipKwJW/vjQhkrJ3+8N4X9aYxq74+T5oqMDPQaUI7cBYuwSFtZm4UX46LG3NT7k5rLP25ZoHLT+tqh4gmvUMMqh+2g33mp5j4AA40s/hT0XLsS4aMb3PR/W6FvBriHtr8WTsPh7EBdrQ+tmS74Sz1/BobfHNF3Sgs5fGR6RHyxl4496+KZeu9E+VBDyBHxtSP7DZzVfjdQysJJeF1lzG3hMxvsOTcwpwWBB6OwtSinnGIfrxPTDRNgIUPYXNANmZ1eW0OrbXEbTAIaHzPh88hDCy3bGJ8uM68r/fgvSZY0mjZIlZKUZTGuyJCQjIqY9Sld4/gu/B7BiCcC/jQvYLOjThmiMsKzemmjYuf1vWbQdGhybKDHgr3gq7ULys5OXpp96FoBQ+THTJuNgtFQe1URmSuepzcF6FPXIMfEUfbFOZzQ8Luk0VyTTUcf/0nWLhgvgMuTrqqiGfXcK/bqAa5nCFmlRjzzTXil8CuQtJVcx/xN2mD/AS0HoU2jaC5F+ReITrtjv3UXLWhmQUA3GytrwqlmkFnWID6Z4oG2ZmpgilJxEA0Wx7DX3MdjbxLSyXoLT1fkjd/Z7vtwHw26A66DJfvbV6NFcxySEd+cKQSbdtcgaip+tXE/tRUMkCLnxSGVj9PAQLyhNe2EmkK4H/V2MFO6H/zxp7w38TukelIJZBshnntrhdEqn7vDrYPgGY8XddN0+oCQFpaXgkxsv+5clEbqyGiJJ9R9tDN2TYIRT7eJldg2WRkDFZz4Ks2yzC6Z8hKdbJUcKTe/edVUrT9jvoqCGQpIjCnRaS9E8rTUxDp5OKCOeebKRlnudw14ufEiSiR1Av1jovgmJiLcc0YGPmjJfO0z7w2rAj/HRLRhJMktou761QXkCCL3HDt9roGVnBgV8INe9A/QtgrA+YiMwXhRAo79LR/YnVcnssnVcKvKW0urMHTOyHC2W/2VL5lY4+F58wwO28mrqRspOYDqrVkK7sXBKMZ6wnTOaaN0GG4phKNVe7FIT4t0qA6L4pkTWnQmI/bT2Ngr00Dv6jqpz3hneOlvg+r+xVjNGDY3jSi1wn5GQH4A44X7tLePlF/wxps8kZ43d6hTZSePAENKIo9Vo8V+03KwrJ45pjbqbfPwz8WUwkcIYNWtFSH3XTvVpUDKEj+AF5YnFPjDDcfdDqJf5ioAGXH+cYuy2jH5qKyORMEkXoZ4ss2u36ECrBi2wBZ4AL+ZfbwkFOdGRB20IZEjnEgS/NierfC3a/tFOE+MdnjTGR0e2IussY1ltXxbGKPBQZ02PNBwDels56ZcQ9/mBkuIVzkZUEjYk6UA3/i4liv40/Rqk2m+X0q1UOiUGK2YM8fGtCwve41/6iiD3HzJMHDpiByhwASzNIGtj1/xhUp5l9PDbeJnO+jU2dlr/QR4EDFeHo4IFPpEjVmNTQmO0X7ljX0KNwJf1iXdc7lzOSxnEif95dsc7G/ZJcJ7xTHnbrwYhw9M6KczaC0kceHwX5Gq+6Te0kbE45hLD05PKECQaNbJfUWgyI6LQFM4nLuiyJp+YbtL0ZfkZmvg/LQuiqVcDONsaL1rydUZdIHKz1mZfyqndy6SGsM1p7HBen62gToO4VVA02sIBC8uRpjtLs7BYzXZlUuz3+WGLmOj4xPQd6iDywGqX0mVe9Q5O4VJa6guqYUxaT7CsksgvwkeFAzDlV0+dnCARPt6GF2AsFZ7KuKi01QGbKbLfNTfnKbQ5F9Y5zPgXBmCOSX5de0cC+zrszqTIUElYk07g14Oe/KRMJHR3LvOb5cDcZNqGu4/lzjVpIQc4fn7JkKCOjmpPMcHPQXpf7ZY5vUYrp/eKsE0GhEiSKdCIQlFdd8wH9/sPdOGFMGW0t0ATdDzN/Dq6Zt8vOwDQOeYH8vpPaw7E4alXyrYPxdYfHvmEN9jYBfJ1fVv29Oqp1kX982/9Num1iFFV9WeKC3LpaIYgB/CRoBPhe2H7m3wcYGEIfbaHy83LU3Gm6qsPQKV7s1osRhA9R3YnYlyJbmUQjWY0gjuK+Qs59Q3/uFLbtHsru18wAnHioG7bh8WqCWqcKUzhgdGa8ccawzuiTfg4Xo/zR1y/MeygIBm2hpAPKGvVmxx+WzzPpRKlTbEHdTsoMNhhuLYxD82txy7Rky6PZi3/g0qHWF1q8/mC1n+SoOPdVzicsYAwwmu88FSrmxjHWNwCCGB0j/OdlFHFlE+Sb3Gk4/IgxDLhG/jpad15+0Wz1HP2UhxzealSCUEqO8mFjxLtvRIp1GmD8hiD0KOgiToA/G11gNspkdIgx3MvqfP3kgWEXE74jrjyC/hXayGYq895OSmDaDf4vdmevXpvoOZ1XiEqBicbL5dQ0t22uSrPQdz9oePdCM6T7v89/fNMUI05F0CCgWQmqfXnL2HprUgJ+JJNNM8n0CLEI+ubEb2ItqVnDPBQ8r1RclC+FFtF6mp4p808aEcCxf85xllEWFnrLdWIaIJNB4SbvwjD7E6PwC85Cp/d84Vbsg+7QnwXulok+JnDW+LsaLH0mOZlHmOjV4/ynR6AGIGfjQHujZtwcQtp4CLi8eC2z2ptLl2k4bbwsjbmspmEFXhITlxOQhNMY55N73Jm/MW237GLUVBjKNCT6BBM6/Mp4SVpoAIw63uwIJyBwpPNoSHFyRJpeQP1hBUpI4nWkXkBy9pdINJMopxBGoruBlkcbbMQkck2C6zaWks//PYFOHSyCU1fMHInxZfqIt/kOiNvc6lQcQ53wUxASVtxAnYgxp3ASY/i7VeIX+jGPa08nZzBjHuJS/eKcHJ7Kj5VqghT6uLAjw1aYexeHVbSn21nra7rpHqoCAtiADvRTUZVxRuiaFYu4mlxwTyU5PcNjh/ixlWzdE1pxgY7O5A9dF+0k9zlLR2oC8KWD3ura0xYxJ/4wR9ZZzUjKhN3cUQ5rJSCwHx82VL6mAFE+WKX3CdiaIOsqQR8QlBZ3zWEJU/dcXL4uB243WaTTgzzkq64PRZ5I+pkWHlR6uqXmuVZ1mZbUlD4wedAprP/zq95AqYY8Ofu0ksBnkJgh3Sz0n0Uxvuhhf1HOdKKJbV3idKdwIHNeCEq9UrGyv+eOqOI7D7+bmVWaYFraXM3UGeG9GHEEOn3DwPZA4uXkJ76HpvJ+GVzTMlA9Xs44GT76hPjYg0afW8i/t6TJMgG74CvqhhgFdOhF8cvi9GIuQKKlkaBwk00YCy5474I8oBeZorFM1p7PANE+j+P1JV9ZA/OdHQ7Bm/yYMF38psTns44w3HPDytK6mP4+HSKAUnvrumknf1YkiPTTRDmGzGwyYHcpulK7rq7DZt6QQCEO/KvmRhdZ1ZkHiTTVW7KalRxCHDt0dO1WvPdAXSqaYvS9S7NxoAYfo2gS74+jHbYqBksCOLWqX1yvAOzgb53R2hDO5H0xTB+Ly5UalX6TbyU+uqOfatoHz8yyE+cPcjW1MpdtdSei2MoBFEScqoaZqeSg9dSszWVugVozFbkTaLJLvdl0XGFo0xeaiVzc8DzNVg5Y4tfJMqGS5ZOyEeghuT7eRtCfKi7CK9xvjqR+kwRjFYq5SG6raTmlw9zhMqDSJsXwnlC8h2w01RtK4ktvzpAHHkubX7T2KPfcMpYaYfjxg/w/AkpLARvw+okTLyARR22xWbYZkBaxnyj31C92yoPhmv6zCIqUsB9EPLBWhFtUsVMX5ZGlLy4+lJ31s0IVrBEFkcJ8uBYV7iSEFNaG8vD35k9tgOATZD09ooI6Qk+S0wgh2ZjKkZtEZkPkWnUEVKy423tJEGjRgCO/9hfr3c8b6cH1ONayFqWqQ894A9uVQHQcO6TioKEmd5VMoTRpV3nQew8x4bN5Y2xP8G91+JXuOInyrVKbnoiSSlgFIgxljxGLDHZ10xQUvPU8emwOuNJo1RXVDkXiXmzmQeOWQj0ECj8NwuQ2wqlGBOE3DPxKB9TAJRFZjKUlDD4ZlFgYnd/Zd8v6BrPgSJ66WWBwAmRFBs4DP4Kd8LvGhuzXOJ2tjZticqLCjV+it6CwLGXNq25nKYg9eHQfeQvicR6mqDmHHbPZtKS/GJfKr70Jfp7Tf8by+5fwcOp2b2DHRm/kvFHDPtB0tUOOkgYiyNAN6gmaycnxQWF993og978TWDgSA1czZWGUdJjpNTcZ0SOElaUrpT4KseLtNIx7acxpbhvvEoptpIRVFzdI5o6S2B72zL2+/yMe2ed6oC7h/uv2mGu+u1MbgD2bb+tpkTTFLUkgDahUNElneVaLrjWvTkjNyj0B4gQQDtMe8p/PfiQf4hhHIyKz/JDai7AaM+Hg3JEIYt6Z+eOQIlG4TmIiq2W83eyh3CnssPwpJmhBo1PUw66mOAjJKQXP3EPOwBg/DkIal6tRCdgFsaEmX60WiftvC7yCymtwiGH/v49EPWjOoyT2JUjgFBM2jzOdklb83dcbD8rWQA9yUpaSjiW9hcgtLY7SpXP/IpQlznFML9oCbLQKGlEk6I6Hb/S5MvYggZ2uUklYQHI0jms8Pse1pr7Va87jUdJ6A7esc+uEA0orlzq4R4yAqS47N69GbJWoRz5CYm9TT86BF9lgpV3Ca162v6ntHO6sOG5OUe12gHWzAKDusqLi7FkWmIIOaKyAQcEKOlirJY7TZmMpfwqsExd6UisYNEm6GU+7OhKzveJX/NBzkcal5XF9ifbD1g1brQW5SA1uwdx52MjZ1ykdU7Nl1/OQWp5mKaf0Yr/1UE7Xa7OFe8IyEtiMVbIvSyptDGhHdsfBipiiF1AJKX60OVd8VJA3C4D0rHd46wyWj/dFMfdaFI6g3mSs/gaJ2t13mZvUD0j1WEJXFpaRml+SmQyJseyd3mSP5eIHJSJxWW3HuRK0rSteyIN6ebva9UKHeSM90jpYaRiTvXrl7xVsCKlXkdsdV60JwEpnoDJB+PTkhJLkJyh7TGqMRkZ4My2EwlnEJUyj0WEX3wNHAlveT+euRbD4cFHEKuwUUXW6iIwkLA3YpDjuDFsNofnZbAZ8m/oLRSVy/GsBEoEvbgl0EKBswJ4SzAek2c+9P5jRgQQAy2eAZYob2+lF01wHlYZ0SPH39j34rB4fbCtQboJ5atj8nBDvdPF6udHCUo6BIiiM/or3ddNDpsfcKIgF8qdF37Mj0vVUrYImWd2tTHvWMcQ5uqSXtkYkoo1fRhp70z+GH9y+JQ8MTX2VbtKkYQNMA4GgjT37NH5vHZuRsYuCB2KoZpZD66q6AuVUZz7RBnZ0kVbjz9xFudSDgiwrmkRysc/b6UpRYmi3unX/SvJOhL74SbsWG0l9TvehpjTIGZf4cWJMUw2c5DKU47rg8tfAmuRDm+OY3WCRPgn/p4qX8WXqIID2bs4XihU6JQC1KvLycEG2y0Wfh7VE0gbszoCTmKknUpDkV6ypnpKOWYgd8FCV+mLqBaOlLyDlT0al/O8deWw8+sIRdu9kxTZdJ4P7IdRX8Ai/ANwdCZxNrBPUQsD83PIIwPB9vTzM0MPbEbbYxCA2m53gbIiEpntd6SxeJ7mx/lvO6dwPWHjG2CIbnynSlYUhR5vgerhUkMy9La1Xlvey2kDaZydtTgJagWO02ska9R4GugH0G8IyRVgioO9uhkkdFj9RO0D3c5CrMIwG3OnJYEa4WfiPZf0BaoytEDHIpXeNPLs6iyus3EkoDgKvWLej1yBN3KwIZjLYuDyIgjhJkc8fGDjEiHChnKkp7ENF75dMZNs94KoOyxiTC+rqbN4jNeaNjllWu2Fb1WiN0fveGfDvFrYvjU1k1aFW6Ffb+8i1ABGhOvJXLHii9fn+nlH+XoQ+oyKvUVFNq9PApiCGCt23Y+uFV6x/W3mvlCSH4SCeZp+y3bx84kvrQp7AmMTVkUPsckf8zIjcZiH3AvXLyrX+QyTyhAJRuCgLA7eryMRCOjosnvaTH1Gdi6hpv+ttGWW7V44PqHeuyeuoyJqGMKgVtkJP26VATjqLoHcAJKtfWJbfPJOzA7MxoGxP8DVA3lOqUPiYJC2w/Dz9CwexguSRS8HBN7Z47dNdSzMFqZqrse2Z/pjuraJBVfydAi46utY66odgejRJjLQWmdeC3/50ipQz+7syVk/IuNF+Qj6MinKxWoBJ4BOAo9jb6CHbZduJ9QRa3/omUYKjw8hd819khJ3Q4gqcO8WfsYYejyxbnzUBvAbubxwbzNp0eLi7Sjy+rVu9HDtBxsqes0YSqQb1XMSpp/fmYgcL51ZkPFKlqiSiUmcp4a6GDMG/OM2y0+/QmtN5fLwUqOqo8eE+kOYSSmYEIrEjWz6tgZE/fTKmmqbUOY3MX2TAD+hz4mceu6fhO/CIfFSS78CmcQDai+ZJCY9ClPiw1lRflLBAzgUuqwJSzymF+XlyFduroQnWGA5j2NxAoNcoElV4ijoJufUVwmxOl4/0ScvKGrQsextyqwjiYanujTe+gQ6pEDHyLiK1cw+s8EouS8l+GsPDIq5Ixt8fLongLik/yazxb7z++6n/PBK+sfgONiSa1WOkOURNZS5ki5mu8a9efWWcjc/NSBgNdvKHgmT97dmGUgVMh2GK6243eqHEvnT1MmwR9Xmw6BFyWGLtgv8ji55Mot383j08r0FMEV0oywgpC1ZcyFv4Epn+MsQoRLJ0izYCKrL0nWb2XjfkODrv2l5th17sD7Rik1nbYHCSYY1M90koeBKR/3g31usKqHg48IYI/Qbqhqj2YF6Po8fxipHFnR83vmSaL92Qk4WLJ+qA78XMQzD9Xyy5TQO77thgnf9kRjVkxoUQVOw0nqV+0gdI/DcTfEF1RpURceo57Xa59L+a0Vgos0jBAKwUHh/FhNXLH/rT1r9X82tdUAI/cbBR0AW7UM6LUxdPApDA67lJMvey/NeMd9DwTqeaPT+9orarJiTlOmZwHCpCgeEOuwHGdUuCRyWzpEmaJEISxGkgezHBsTPaeKkQKzLo9qyfSyIZM+gxP4CD+S0N15A1pJoXSmy1JwcbOERRseBa23pXEpIPe9vbuk5vBz1hbV9LUommNBmQibc2pLB1E/jqsK2Mrlv3N/kBrmneufVADOIp/N2VCbThWiVwkj1D7tWqK3Osuc+Bzs6MiU6b7gqzEUdjWUeTpen5ly+ckHVTf5/9bCsk+Bc5gPDfcuL/tenYjIKqX0MH3aSydTeBo4RonithanUB0LFRH+nKSL4APU+XjRP1uRERM0yLxtNSf/2Hf5x5peB6eysPosO9opvCOFadB2gZMzKPluaO7oQ+wXu5fBN6YOu59RbaCJXofC5tffY1iK5f7rv/kSioNg1691X4vadLlgHB1iwcpo9wi/0+Rcq/Ai+a0AT2lHqJYIXqcF1EuEfdcxeU2k/PWdXDFY2YD/HDa9q88xRPmAAQGPZ6V0CyzBW0zELUMY1GUuUdzzXgxYBOcYKag4qy9jnqkvFDESes+dy2P8f2ssa0X74iufKG1YdytusUFOxRURJmoRPKgfPnN9cHLM1MNdyAR52ZICC7RL3Iqsq+YTQI0VQdmL0Dd6holeykpU/DLy7/A24WM0pxc/wYcItg/Zjo08I7PzhofDfZhqmd4br4DBJaD1F3MA/HfyOop/UesYyBizzNgQlmbBNOhTiV+sZWvqNpV4NJ+AXn3+4FcXMmPzTWdzZO/P4e5HDkAL2KxxuhVtjH7ErKR0jqYY+FK6rU9l32cMeXiWFcwokKxbSxlcLmzxSI9qiiKBs09Nh8mmDV1L2UrMer8PW+FNkdCaUPVeoEzp/WDHN0LtNFp3qK0Z2v5pqoegzQ1/dwFAqjL3tToXhfKC5yGkGrwsfLCU0SqTlnScDxOxKQpjTGbpI5q6ukrJ/xhjL7lv6Bg3K2uMfU3Pleq0XUJaElBebGpaet/TIEvJXYcnsmN2TD+MST033pYFVxFqA4/zuMBTXuXfXx6+DLdh+wqG6A63wtvVMb1Tz0JWe58BMfvFBMRTPsFGNrLqKqqtoPiLulWRE//j3lIbV5Kf/Nd5OEgsbw+fXxiQssPwkt3m1k9J9kF9/YLhuzAmIrhEOJP5YcRMZjHRPHIeL7SGSDxJ1tFX726kcsiImjacMR5GFMlR3EoZz9nOvOqoOToHwckjM9jg/1fgQdn1uxeuIqBlmuekqaDJbRzsrYSp7Lcwp04IJZPK7k6JtLUIs4VBFj6gRP/2laAj2jAAREA3O/QEjmFb/vt8wqd+Ntk2eTsujKEgG5tI7KdrWF7oV0XNfvlTJ4mzDkh/3Pe6RXt3gNQ3o2reaUY5Ta+rXPD7Rna5XMJW8lKUALEoD0u/Y+9byE6GBa0HdwiaCbJHdiSXcqBTrY11xVLdIBhDC4hdUrERAkfpMLjgcStRJP9xJAcMfT8NBY5dX9kT39yawzttIr8zt6pU/fAPij3Ssl9MYLY/oRSR7V+xSRgvRjjQ9cRAdH3pBixlAQSZZJVz4Y6M/pN/ki4arotkvU9CbCxEV2JKWigrkdHbh3XeFjZ9vXlq5eHXmhEecTb3W/WpAOFbFDcyz46xf5F2sA4C68QtS+D/zT3hTc7kIdKP9caLMKPGBk5YrZ3pnd7XAyTzTJC6YE4xa4klKd6E5mKA/DR9R6XVFlVHNTEdsCIVkBGVpabuDbgQ/OY58MEOir/kSQUlVtF1SeynRxYbcCRwGTnWRuTY0OrP/bJL0GhLhh7yUVE+mBnREABw0LBrQ6q1LXBFcbphrwpyr24Q88bwJhoPS6688QbKOnXj52vpsOIwrga3A1VYsDBiV8RGuwXV4AIlssNgnJhCcMIH3cndoQcRq4aU4Vm8cFWIiytPFQ76sFpmY3iBlGLgTkKesnz/UmIDh02XWr+TmM6/DurmoaiPSC6geqPxBdsNExrtVl3vfIt9Vl1NYLW5X3eHkK6JNot8Kxgkus0AhU+07ehNvHa5nNTQO29pd1iK5/QqpM8qSAfw2VWUNq4SirhIkovu47yJkRcJ38hTZYrmTkW/iilFIAhPwaNLxAUOpNobnpOuprUo7/sk2gkre+uquZwMzrBEvE3139gAajxVXizH8+8j65fmuA+0LLlHFXdIPOdAhCyykOkPJiNsHQPgOQYAvV5e4XIsBLnIBN359+DH++QMpuyFRO5m2weQPrHE79RUljD0rh8T+RLXvEvFV4qXWN4E9/jEc4Nn/tgYj6JN6gj2of25HKeHgBqLvNsJmOaqO4uJtyONafSbl7rqNHlAFKMQvc2ich0UtGy80jWePsrcjq083t/A9HkYYksRaaoy5BTY88AgnbvbbVgkn6MiPGdre5TdWVf0qbTh69iUvnAzZdHeytnRC04+dPd+AslOV3zyZMW4HIb3nmC9P1ILouPPFYwy+4fkspe8LiLp+ERGiFYHGE+VhZfUl8IDGAlckfZcOumbvb9ehdW80g/9bwOcAberPRObBlEYKcmC2lYZcrAGbAmeY/gv351aeKJp/SVlYAnqbiZ8ndZtOm3eQtbCtIGs5p1OQcqwqA6rdlBhLixUtIBobp3Kuy70oWLV2rk6BtnvdQWO8TVfxkdGG78NanO0Rt7+cntEE1fHpcz8SFRE+Fz8GDGaFZdn0vC0GLtnjcx3SpjQHcwJSp+ib14hs5AWreadQ9Sk+r6BgTZgCLsBcokHtKc21bUO+6rHN6DTY7CbUJmoTkkBLAiJaJ+3ueh0Qf9FRCOpdYID9Mee5IOY0alpIDOBA5L7RPs0g4X7RdgUS/WPncwCzUedUijC4tuSVCI1nMaxwCR0MNiFNM1ntlVYHPRmy+NdriWiRhHbyeyEdoafox7Rs7+IFAWCJQxf5jo4LrReu89vM2oVC23fkBPPfBL3fwDklC+pMM4oFMhZBRbeUebqf8hG6zo2AWh4cN4+s7iZumR5PWwf5kujLytaJdpR4Mz8P5MyJkgP1xlkosGeLvi33ymZs1L13iHxzk40V79d5rPPcga001IHjkeLzqXX3SvCt1RpWt7K+FaOa7v8t9T8afPqApDBuJxnw4JLGiQnLrgw9h6oyZSbY3d0jl5IXMnxkIU4f62emN7aes1vc0qqt/Fph3ZHNjPTAfpRRimtzDfSLMumuWx/+NTaoIuVYYnPNytS3nmN3II66gO+UbGvYPlhJWDxahkenQ1eHSAOGq1Bp0d2oJk1fLF/V798Wisxb4Fa/jWreuIBKd1Qcz++S8PsN7eLr88E16QObmanrqxm1ojlJYauDqrTujVvKLEGf4znAXXUuMca2Nfk2/Ba6PoBLAmGMKIY19VRbMJMGta0R2yyWunVVww/te3m6SZBLRNV1CbsGZstQiCYTIdnDS/t8KVC3mrshADjf2KflSxBs08lHq3i3oF6PtoCrw0di3Tn9PvNbmXFmuEK/Hm6lu7ApIwR4RYu5Iyq/Md7dMxi+jtYwgIIwKcbdOibUplsWm6b1RbKgIypiXkQz1puKpkC9wfRfKlOrarT145ar/iPzTowwtWsXUjfaz11e5gDsNzAZeooUR/yORBtAftUOg3aHkk4KnD9Mimelley5iF0F3zHX8g7zEYwVyPzWUZnas08VtVNE7WN6oVt78gjmiFamf6zkIyhpPf5i2AincC42mADMneH9r4R9XpLe3mCwWl+UewP85OZbmo+g1OHz3eBfG4huoOerZ+wsQNaV/k8hkP3t/EsOl9MJGsMiIpsIeB+kUG6NBFcIfe98qCARfBdnxfwFwXJIa5cmPmHQJa6+7vZvM4YQ036xK8S4jrGVty2al5LAYKR/5gi7gCxY5zm2Fm4/hjUXlue07AginoGN+oZHFA2+JlQVgX8FRM9Z6zWvRR9mjb4waqpmHoTxX3awQP34GP2tzdp8ct4Gg9dEHNEDR8UO/9EoTgNj+gjzVRFo5jflRNNk0bpbstsacEmLiZLCxB2dcV6ZzRuCdfwF/ohgrZwyS5TqMGoYfX9wxlhhyMVmU2ZEwatThVgH8KNf3gEC8ITI4gaPqWvf5JukqsHOSxA0rGN/gZcP791ylpGtCMpw9JwfYheDmlr+bRz4Y6JcpHw9Z4Is3EejALi58frsoeUk2wiTF7ZpljNCUZWoH8jukWxNVnK62c6Au78aUjdXbRGKMIRRwLw/NrhbKcRZ0AgnC455IkVPg4Rw7rWB0sa0CC59C4kJw/PS7xsALe/EtmpM5lEFYG5Th7PhQn92f/L/dViwKfE0COJcrN3FCcABSH6eZxkQzeXjJE/vkDes38B7oCttNISEpZZCjf1hoJJKUBgAWitVndhU8FAhZIBoZAqcWJ8MJ/F+CAKuHTBwBvdNMD0UzwkYbwMkf5N0jL4GdeQ1SwJwvaGMDSuJ1Xqimhze/qqWib4UUb+3k09757f+kwkgYgsJWp/FFOfuF4ZlAMRBNSF1l77kXe2WDwv11e4TzHZJUM34vxBMYWaJ04UOzzh93ni4pmUc6siZrVg28XAZOdHy9G+vg8tu8yklVavhH35YuXTUXq+jG7rliXxTuGf5xspArpgtMnXTu6I603YjE2/ehkurdDhqNJVQyKUPmrUXk/xLIWUg5HcNvebjWDzz2sA9SGVnsXik6dnRdP9BjBAtSMnPPFdyXd+J9dyUOhG/mZMJ9iLFq/GJt75hwokT8Ns3RSazZLR6ECO8wzVZZjcJsdj+aunj2XuDkitcBPsia7RC93SS9QgciGw/9O4bmuSVgixPmP+k8O38nEQroFJPN/0QDIJGZ/jdiHffO24Pf77zCkM+XrMC7k+fpWEZSnGb1m+kBJKPpWJ6XTuO0WvDEqRosMyj5lgnKD1sA0ihMBH+1edVJd8md5ERHQVPD2wX6BZQQJQJLc6uFZZOM6mnrG1JI7azRczVqDiVZ60OrTqtWFxOQHz0JhMRHNLxC9j8rFEtkUZ4fTYo8eFchQ01fIVq6i4p+myeJ9OcXZvRplVRNSz4wXBVGOxgQcClpPDa6oIgdk4PfPcvfKqDH6B0Wn5yMfa1zdV/USBEciou2RyKkzxTvmCkFSP5nQ7Dkyrge6qzvW62mDB2AHgj7Z2UwtNUmmA5RCHgXH/23EDO4cZkvry7ew9mRWOtWP7alRVa/8MzkzBYA9ZiKgQuKeMU0e+pWclXl2OfD7A6BXitjs93rqjz4nUM0o9jiCRF28FsPo27qhWHGV68vGqqhdUxK0PKqe78zBRzpmiqfIML2JfdWeXR270njm+iT21hlT6Au1nUaaHeMWgXd8EEh3N17I7Z+fjaa2VKwn9B0eJyx/11jL7SCaKuLZO7oW0Wy5prO2t/oR+PxXlMFHPyCd4qY1SCawYSHgJhvGVS/1sJLj4JTVkBumsts1hhApj3tiqOlO95KJKInrNYebVbxUn1y6GpWoYislT/guGsyA+NP2dXMe6EcNbWy/hZbg5iGp0F04zcGg8LC8+RkS8Z+dmI841bQk8usyGRyBgKjWBe5zLbYfPOFyy/4fSPeLvnuhxBc2jXf1vX5gE57tLLFBsD6dcYl0m+EtMEeFpowgb8b4E/UpOVKs7Xzi5rC5th1/PwCqofZHZT4lA5HUHlko8Y+6gN+LIosenH4zN/1sOZOgXjCxJssIB/RvVRtabLZNPOFILx9AjgXDwdjqTHCn8OJlbczJcGlxKarNvN7pbcP4/0kVhQLbWWMpQiW701Y1k/wS1Z6r3Q/LCPQzf0mILUTEPI/3MwhY7PeWvYbBRtmhOQmD2sTwQW8/Hhv15xTSrHYH8vQTRWOl0pFY2v/aHhwdMjRAF78XuVYe5RBYW9bW6cp3p8xBAeuKiZ0M1x48okWPrPm0FTaO6heY0V8Nk55eiZCSq38eLrlNwMWGP0Nu7jBwwscG3XS1+w12x4WOCjcWUq52xgFXUXBtXjZXV+Nk3BaLPZrpVUoNAsfHZiniIyoawuCNoz2Vq6SqoBos+xqn94x3z6zneIGrFZH3bdb67iv8yPVT9ztkd2QQeuJx4YwfLfT/d82QU1LzqmKIclwkwc+xIv1/S0QkZRJG2gd8zo/lw6WN769w+G2lZdNEAUe5xXW/Zbk9Xqhg2g51Ao6+wUB6D8sOoym56Flv8k3vvkVYI+qmnHWkmqWOYO7qiOljtcFu9e925e8PYToNBMRIp3vj2cINU/TgIaTw7yamhsHhqso5cADpV2HXtg/zPW45JxoadjLF8eGx3l2bh2YehOLvk+WLNEWqnZRfD3Qmj6OHNdU0RZW2hOFnZU3mTuStqlQ7+SADNuNIo8hLCpoYwvi10qt96HsNGCaMl25OVE++7Ob2cdUSekI/8wuxpMvycfWWq7yVBF/RC4ysEAaMp4HahpE9BovT5yTTXmx5xBfzaSwlrWczpc2pnouA/GeKHVutkXfjrYN3kYsqpfPWXekxdWgnDo/V3UZvbrHiyXHBU67ROdqbQ33Q/Q9ldF3Pn6RIHSaLMUV4giIMiaScA2CsBLuuhhH1Kz4oJWWfPypRy58ChNq582zH1D0OHq+Pe2mDdgJydqwnqZic/hIaGDlqZOZTesT8anH02RGARnozM/IpJmbXxI0SG0Qb6CYz9jkiNyoZltq2m96AXu8KwYpdXyW6Ot9V/rfUN3dA4V1QJGQCG6p6Sm2sVd8qQ1Y5cpnN++YSz8PiaVcb1YADb+pLuqZaNJhCDM4yJ5npbPr5arATwtHNPSssMMkfGT7+1/Di8XSun5w75S1PLUc0VB/vtAJ2BxL0vB3HtbcinqF5M10KfGlmLmoThjTUKMvhABarS3K1UvH09ippE5fRKQk9yuMm55YZgP/uBjGCfV/9CBA6X+ILGY0ErZIdM7xKpzyz/H93lYxfQzsKAaGtYjA/VQQ9qBqUojPoZzX6OK2lx6PD87tCHu82PRL+wdsYSVE2vDDjxWL3v5clRlpVJuREeI3EFc1Jo2n9zHt4JEGzouIGkSz1FLq5ePucg0OBQRuSFNLLIhy4M077YzCTWrZx0S/ty3NJA5jxuL/MWNIjIxd12cljV38/ZDNo1oMkDXUWl4cHC+k4qNiIZqq9D5iAOzGuCQwmghqMMenzTZx8oYqSaFNYxlOsgEY3cTpnSH9ppYpqZKEy+nhb/B0g6edZcnTq99HpA5rmPLLqpc51ieQx3oYtan3vI8ZkjsArCBZG+07ubsjjSE0sK+xbB1WE2sVSiswR7DdrHm0DCsnUmG0QbKibU+u2+/JaCm04rnBfM4BsRVDZk2VHkqkt8pVV1Z0BSFHriwBOh8gnAH1N/R3aMJttTLgdMJyKARDeaBF/yF1NMO8kZ4teQvYsr52vo+b4vZMAzMsqGLcEC9uwIps0DoeX4tzG8mBUbCOrxqTtmvv0aJRz9ZOBAVUKVPc4RCXOzbxWNcmMQqJy24Z07B9CBtaH5UuJuurRcC0PQM4LscUAjRyADTrucHqm3XXZkzim+65kLv1JBSKv2GvDyAkLzvUHF0te2Iczw7aQhncjt84+9UjmxBqQHTB0WpGkJUacAyVAzOM8v8KZEDZSELmas/iqdA9EPiiuUiVHe33ezIqpc+MEt84hcIKOls8yZJUIvofMXtGgq9P06s6npWXBQuH33yUCxyqYkkS9HER8cEdR3VBYjhcK/fB+o7ZivAfvdTK7YTLaYl136973W4Bvm22NphY/SvTRT9Uf8pL5G4MlZDzB8s5PirznIBzKtQOragXg4IG1nSHZq43kAvFBY7XlHBZ2JBauUaay7gDWRT8EmAZvfsMioVnaaE+dOS3ENag8FtNoSUX+8TqKEETCE62U+c5NUzAJSSYiiKBTq0goTxcbeJuYgggAE2x5qGo2lNs914GLxn/j6bxaEIVunKO7h5q/YBJntx3hkhVi5bzjQfj82UpwaKxUjcrdauYlNSWCxAqIj2AB995g1fCljwhEtqJAwCAXQgvxpI8g8uyMdN9QKMDA+uuviKm3eML+Fhbr0nSI50RZMYjRNWLu3m1KrEYrNHLZ1OOcKFXaKv+u5YQJBJ9tY3Ti5d3NfhuOaMU9dSriZ0G/xYN872zZQAXrxFoD9zNlGYyX9zcToyroTcMcpbJe1FcR55yqwamq4ReuTXHYXjhvNqflpRHj8YpReDLUYU1cDJHzJS/H0JN2aZcQyRKr0I8Potlf0E4st2dHFytGWW33ufEUBKshJ/GJ4gQGLuZ4sb8yEA6+lPpd2Ls1/ycybGmT21OJIyw3cWYYVR+hzRN6MevYQjnCVExtzxNEpEfnQTGQjefibw5ATC7MyouP6vPbp4XARBrSV2rY7TawaHrRRBisFRjVTpYPjhhtFIaOa5Oxz8AajUzkReAyYDmfdNBqxMKBbTyXgo6yO64NBYqcX+5wONOAMaKGVV4YATtk95zzeY+jnEm0sLbrMT05anxytUN96ZaGD5WDRO9nS461DLhnXOvwoPhvxe3eXMILz4TSPPdUu+U9EHWPdhTuA/c4NJ5SJOaACe21b3qDif79OmKHcbK2ngnlJpdSyStGxY9yLVdTIXYkfS9NSnRKt/9dUT0neOKrPRNzcL3n+pgGiItZMQHOkPKt79Va0obD77Hb4nfvGGByVfiT31Q9Ep3W7AKoGiwUl1ZRjtNOuZcOLXT2VjamN//6pLqFNaq9XUq0XZMayLm0fPYmZk1TRCFpe0wTYPuKBY1w5dCmIYoSAkRTAaepyZjWETlylUeF4ozTVu9KPqG5OOAuTOtPj0XWKb9i35KWG6fVYga1QXWOIGT2JR6qgz0sQutBTo5YSG0BrY4eQHmt9fIqrn23X47fyD5Z9ivyWLkNTmZIgE0uWvqUfiGIE3s4bvmTmFa+mjIq4Mf7ss8ifdTGXpnidMXDmNkueB9IsTAL80Y4SNhCMjyHNG/EUebmu3zlKyryRRemvTZVuldrIiSOixalkVWqZNGnHYJ4ZhMIOQZAsVEF8iXWbR3whmv20T4UPRPYpBTM7YtL5n7WXh2PFGIHKbcfqqPqK9Cq6unBKmyVuYOnsaMLaUlkont4luXHYrGQd9LfIrlrzeWl1n7zSK5bMuThdt7clig1dIBz8+vMsAtcsdW/gLkpPU5/YJEUF5wUn8GU82Xm7azYvPIFwcdsKsjCMvnZkdAah63pN8i/LyZQiDEe5+LbLts85bXbSFQF3jLWKtNQ75WRVLtjXrG8M0SO7qOYkLWTp3WDpND8YZdZ07cl/sNwfAHpWgUNBacDw6A6TPpNTZ/v7xEq3O6wdFhR9Fe2JrBDpWoMgXbYS6hWJTq9vSeyVHLaAUgvDmkKZ3hl6vNPiLs7uASsezPGADHI5zfCUX7F0XPAKrWi1xmH401w398dZ1KY5sFv0vxCa3LmgQ2CO3/Q8BqC63kiGyuj9g58jI8kD0nHh4f5Z7bGzpXgepVGdjrjx77bfiCnfPOATzCy7PLb1fz57liKe76MSNRaSSAIiPgRUOpS4JujyTqtR0YF68eTuoN1v0t5lMKBAR2AZFAaQBKztahTT8dzY3xBag8DoMTQgbCh+xHiKNywAWHpMQ03+m0WRrnjWmN8RRyAUga4L5c9kTf0F5Ushz42txCJj2124i6cScRrVhi4dIItShQ2gK40TDLj7EwJnTrDmjeebEtSLwozJOKY0fCYAYt1Wlvp0QmHCF1/gAgjGbt5DvPgx/gL/oAo452SxUAXG09ml9Il6jJi9JbzxWqS1reh6zOxR+ekZbgE52Lt1BgTG7+c02Q63z2d9L0sKtenTwenrTtVHik+CakvuuFTQ1XatziCvez8u7StVROY0ad8v0PqidK3QlL41Ubeo8jyCtWcBiB39Eg4qp8egMNyphsdAyaO9v4bjfDBLl1HQJYBSmGhauiQUA4h6xIYOK7ytPCi4EBEnim8yeHda0RgalBP1eRdmsvXuSyifhr3m5LriYFEv7FGgbkUXxZsD0NUCihI3xRnOELz3v7fey5nKSDmqzmJHFtRgsHYPS2+jdUf5CqaPZx1ZuKEvgmvjamzniAA6lVjBsjn0oUsrCBoHZ4APGR393qTM1J7qDcU8LWZQ5lMckHKBo8qrnt78SC8dAqEpjoXb/BC9HIlG50kIxwQ/utoW+z9PF9A3mgQBuGXGkdGd+DL4YD7xxzogLp1A8HinugeFH4dG8ABNyCs6ytA+iiRtu5wzA5TOFabZfiSqHcJ9Fh3RzSR6YXxQfgPh2toY9U27qO/1gLJ/lsijHTnciXcsprX4V9Xf5GK5Mr+8WXFCTT9gAWb0cfa7kTzEAixhDmGujF15KD2K//fAieiXJPFcMkkyaHMySuVC6Bp0NtA0FPLgjSXHIc3RGP7RyRSNmKFquDrVY9JKYCq0Uax+4UfU9ZSXYoFUyoUyFoT43c/RwKt71lr240fA7/IryOX/InowDqfYUIo8GuTgrL/danqFzoK+Lein8PGXtFbDDQ+3N+q382zE8WrkrdcsAAflHhDpqfW3AXA6qYFb0FMaOALVjd6caxK+7Zz11z9lG5u87Pk06rqICST0rdBQWDBAKJ+VcU1DnXl7wljnHRVy9uc9apA7w+HMnufBwfsRPlWrA8Ur+VVsyZdxAlk+E0Ue5CIbf3fYMmzMXEThvOhyVDIlTJNMY+ofIQCoQB2uFxenaeiPsLCUiQMEwVF4fwdMHnugMuHFHz86TjfYjYjHdTCwPIVA8NUNrUMCgOcLIZs2nvC+BIztemVACo7x3xJw0ddEhHfcOAMiS2SpPpT9wwVDoIRux3eKuIx3igZF2jUXb2xh0mDbuOrzqMShbSRpn785H6RA2FF3ZQSBPlgHtg5RkgNhHyr2CnHoI9OgQPDr2WHycMaFG6hMCfjF8OVOBGA+MoGQfCXY/fQ/mxN/DrMtj4xp9llpj4Y/3ffyKSsLHdzHuLeAmtTr6AfwN28B+//DSwIZRqzNaQChJFM9b50UtFeMGkDisaBYfe3H0C/j9Kxiyymwt1Uhit11jN0CEOwCxTCcpDmh3yspJ3unLwdxmrLBEzJ04LgMstte9s1azC29yn7IG6d9lVcdTOUu02BNKXaaoJUJUHfHStDk9L+s7lOzUNT82shTp+8ZlP7yPkNP6SI2Bl8Y9vgxjLvQvvh05uzjj+u3N0tgqnJYdNcdCdoLKyLjUXIvSKFamtwDuZ73MG5pp0MFLSWesrfC//6DbLLNzC8o5uqLLov44Zs6gPJwJTEIfTzFbmesojAVjrAS5YmwjBXMdjW3w92vY6zjDVhwZsmj2lC8Sp7E5fSBJdkzxmGtpRD3og/h0rRNrzCPxZQzM9T779+tHxzvCYR64pVUAutMxfVm39fmOihf81fIy+NCGJ0Y97H1M5IOipUX7q5CmdHsnnlBfHHJxEze+gmMCQtiy5vjbUobdqLkmLO6L5gBNcWTq5TGVVGD+nJILFO7kKYt1cMubA5zcxU0oqWYfQ5omfi9uSSwiuIV80tUE87VCWoX1cZQj5tk8SxwDA39PpAJSndOQ/XZulQggWK1D8RvXpQK15/8+xoYS/hPwbZxXBe0x+KA9pupNTkIz6AzXBqVSiW0sXkda30uZiDh09J33Suh9dakxRIWZf2h6R5T7oKB+QZJA62JKvlMbVGU/tlQiMXCqK5SZXapv4VU+WsNLUvf86YjgpqBHw9gX9oFXE25XFP4PYXfE5p9z8f6CCLyVaspIFuTjd57DirRibSX0Go88rMYn8hETs3+EKNGFcEuEj+OQe155+QVk6P58CFR2PXxae1EIt5qBqLHaqF/nIPS4e80Bnjz+50kkjXXIb3WKNPw9lu9+ER59xtEJT/ESlTlEW9j4Wofsxph/lZlea/TIc4duz+4iB3vBjb9dDoqJHPzYudVkRQNOCNlwRfyj6Go3yLuKr9VVQHpYWTRf2Sba0eamivEMXFh6MnZ8U2ieXIqZ6B2YovrmiFo+E984uej+z1YxSHLkb+rshqYWPLO0WqWvYy2MiFG8C9NSHGyIrRdo0CGM2DLjPyeOzfKbgjwuGRwbq090sGfr0QzaAnlWUM98G4Im6t2OEPDRTdsJsIVYUNO2a6Tba2YoFpCRmsx7T94/S9uDm7zJUmKdIL3chyaLBwDt7/VzuSrc+4sNz9bbnZ2o5WryGmYee69omNMgJtRrV/NCKo8wiZ+6PSp+5YH2avIsUDkc5/7nLvvEA13ddbBdkdCNZXFZ0GIKdBV1tfff3Q9GgEsCS7xRo/2oG9m9RSLa2B2vuPByagkjlONTNU+FO9RgJqExQZs7gWjYia05oKlFVC1rUgV2QlnvZom0sEFBi7LNrIhMkc80MEBUkw+s0VY1Nzdhlpym8Ep163ruInKswyHZiK4/vOzMsmKdL0BRmWnU9Y2MfZiy+E1dBCdoJHiQvMiJ+JhatrG64ubFIBn1IrlH8ssUOhhNC3PaldA+Vsd7Zy4tAUOEyDANuIaMyvtXuQGjc7t8aUp3wQU8ki9+5WIJOCKohL5RfT+f8pFN4/hVoUPabNos9/OCPzJF7OI82QL3w2TSfdXtWhcFQRvesHcq8rQ6AL9Q+RPre1BMZECL10zV2o7yAx1OePw6NFYGsrmhEEk1v6ZK1xSh8IYcciVVFIk56B5XknZSntaD8whNnh2RuLY7VBaJopHNzP6jkzvnULzXvU2hgIARLaVTfhE/u0cDqIHE7fnTVoI12UlJfrEMnDlrKn8VG0Bg/p3k0Z+mqEdx+teC35ET2kQsTdWknUZbcQEKfirueJbJ6veY2I5xBBazf8H/QfbrFOnnwwzflSCuP+WDlJxkO/aNgcj96XGjSrBbPZylJ6enluvncVvYa7MYF0l68pHiAJLlu9SEP6RutLKsQ+J7QrUy+UR+V5Px9nisVwi5qqbzhjUkrPA//E2UE6qiZ3FuRMzKQ8izuwnbVsbL18NXLsxB5CmXuAc+85D1tq5ahty6uhKkm/xMiA1/Z1VWLGzJZaoIL+6j2V/PU7FQFimbhBCip8MGj9bmHZH+0gyLO4YerKt5kTlivQ02vNljwaCeeCZSenFn7ygYACwlpgWfKgAI7NVqsk+SA4OXcV4DbFhwI2U40nGmQXftSswBl32gBPHITWwyXEc8T/0/99L+FgmH+Lwq0HwJboUOWMpaE2FziX80yIsYHp3mu9lOB6f7xTbEjPQLU3368TJSp1I9RPctV3jD+QJmUz+n9ioSkC18xbcNmdj25ENZoENewPquKvG5sNGa3rtjhAka6AP0U8AXl17Jzwg3GH5vNJkAZsjQRsd157Ic3UJuDISq05sK4iJhFLvJ9E5xTBKoL203laGKg7ZyhwxGoUFrg6V9MYNL2IYnx32a0DLp9NFemb7Md84GfczlTtgzk2QKFCIqf5M+dA9bKDLeHurGhK6JZ4yw2EMlTFGPFGZtOKOtnnN9pYhK0Ian81mKsemp9Q8r1QHJ762qvogFudbJWK3bMBb1KnwEMUve+FZRAUFRC0RgPOZ8dutAUe1xBX8lMdHyzVfLx6uRtfJYv35qma0oxh4bZhDl4HtB1sqN47U6UX4dFlC3Vgxi/JPeXpUHLC8utclB736qESLVCNH5hjRa49GuyZSOaAyEyZe2+x++RtjfLylHQJvPHmUMKVDidmRXzseVFkKwW2SfyoGjkvM8mkO4mLYv08cI1/W1gj/wJakZ0YZ6p0sOaDvULivyOfuYIecB6/bKSjZeF7l4fSf9e70UtQFhJLF59rXawQq4qMRJ21Kg+8usTzQRV4GmKPmzA/toG4mkU+ljiu519MghHF7l4PtAZgP4Sump4KGbJB+C/AoR2V2KAYMDDpejSAa24K9DU6siV6mPDf/0Mr5ZbFHBxvqL5SdWBo04iubErbgsV6OAEyjYpqxV3d+UfNigfpubIgYKkq30gq4o8pOPApVbX69IL5gUlBm3hZV+PILx/zNjwoXXgPmmAM5Axd67nxLxPFjXkUp+LRUPyOGcrJbW43G49lcF1z6XoWZ9eITbZLkdYI56ySkxgsdgNd1y4bRtlRhHueD7s7rEqd6sX+DmrB+zn83t2QnS8+NYwo2hJNe5YSHHkUq6BHZWgPKg00YnL3x0hSdhlz4sO04S87X1sfF+p5rXfkUMe7DLDjtDyC2dY7wQ9+rmPImmXYdJFSsayOnvVrc/LHdqWooLkxFODwA+h4Ot8KGk933En7YOnA+BNvWfDMYC7y2RMUHW4hzusWptLZsr/7bZ+q3HmHeEdL/XtTYRIgM6oEe57QYC3/OJ8ge2fAwSPa9aNwPerroc7P82GGIHZ1bvnYmTv0kLkp/ryHSODuVdY80XCahYievIVOxeWQkGb4f1lAjpLrqKoPVyjzt3iqhBv8ZJ4BkveVfpnNjgmHPDvg3gJXDNMTtV683BWF+3ITd87W+J5QvVTB2ddkIfyvcMeGeRBo8a1bKsIWL4Jjf+RQH/0eHZT0l2k1ZVx3AiLf2VyOt94JSnlF8bcHEFw=="/>
  <p:tag name="MEKKOXMLTAGS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2DAC23EC22A947B921631DA9F0829E" ma:contentTypeVersion="15" ma:contentTypeDescription="Create a new document." ma:contentTypeScope="" ma:versionID="fc941df8de87d0c3cd0db38cc6419e0b">
  <xsd:schema xmlns:xsd="http://www.w3.org/2001/XMLSchema" xmlns:xs="http://www.w3.org/2001/XMLSchema" xmlns:p="http://schemas.microsoft.com/office/2006/metadata/properties" xmlns:ns3="97852e4a-c3d6-4236-b720-66b1aed79cbb" xmlns:ns4="36c9d7e0-cf5d-4b6d-97a9-fecea97a2dc1" targetNamespace="http://schemas.microsoft.com/office/2006/metadata/properties" ma:root="true" ma:fieldsID="ce4c61034053e79d4d51608795efe456" ns3:_="" ns4:_="">
    <xsd:import namespace="97852e4a-c3d6-4236-b720-66b1aed79cbb"/>
    <xsd:import namespace="36c9d7e0-cf5d-4b6d-97a9-fecea97a2dc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_activity" minOccurs="0"/>
                <xsd:element ref="ns3:xSherpaClassifyTag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852e4a-c3d6-4236-b720-66b1aed79c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xSherpaClassifyTag" ma:index="21" nillable="true" ma:displayName="xSherpaClassifyTag" ma:internalName="xSherpaClassifyTag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9d7e0-cf5d-4b6d-97a9-fecea97a2dc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7852e4a-c3d6-4236-b720-66b1aed79cbb" xsi:nil="true"/>
    <xSherpaClassifyTag xmlns="97852e4a-c3d6-4236-b720-66b1aed79cbb" xsi:nil="true"/>
  </documentManagement>
</p:properties>
</file>

<file path=customXml/itemProps1.xml><?xml version="1.0" encoding="utf-8"?>
<ds:datastoreItem xmlns:ds="http://schemas.openxmlformats.org/officeDocument/2006/customXml" ds:itemID="{CB367594-3ABE-4195-B117-AD1A527B09FB}">
  <ds:schemaRefs>
    <ds:schemaRef ds:uri="36c9d7e0-cf5d-4b6d-97a9-fecea97a2dc1"/>
    <ds:schemaRef ds:uri="97852e4a-c3d6-4236-b720-66b1aed79c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67CF06-2CD7-4D7F-85A6-84F8F4780F1A}">
  <ds:schemaRefs>
    <ds:schemaRef ds:uri="36c9d7e0-cf5d-4b6d-97a9-fecea97a2dc1"/>
    <ds:schemaRef ds:uri="97852e4a-c3d6-4236-b720-66b1aed79cb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08</TotalTime>
  <Words>2315</Words>
  <Application>Microsoft Office PowerPoint</Application>
  <PresentationFormat>Widescreen</PresentationFormat>
  <Paragraphs>402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Bain Core</vt:lpstr>
      <vt:lpstr>think-cell Slide</vt:lpstr>
      <vt:lpstr>Own Social Media: On Instagram, Hunza G has a healthy audience-base; scope to improve posting frequency and reach on other platforms</vt:lpstr>
      <vt:lpstr>Social media ads (FB/IG): Hunza G significantly more active vs. competitors; scope to diversify the creatives’ style/format</vt:lpstr>
      <vt:lpstr>Social media ads (FB/IG): In the UK too, Hunza G doing more ads vs. competition</vt:lpstr>
      <vt:lpstr>Creative quality: Good quality ads with appealing visuals &amp; clear messaging; scope to target the ads better (occasions/ customer segments), mention any offers/ discounts (1/2)</vt:lpstr>
      <vt:lpstr>Creative quality: Good quality ads with appealing visuals &amp; clear messaging; scope to target the ads better (occasions/ customer segments), mention any offers/ discounts (2/2)</vt:lpstr>
      <vt:lpstr>Influencer marketing: Hunza G has the highest # of influencers vs. pure-play swimwear brands, however, lags slightly on ‘engagement rate’ on influencer content</vt:lpstr>
      <vt:lpstr>Scope for Hunza G to work more with nano and micro tier influencers – these are more cost-effective and typically have a more engaged following vs. big accou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phrodite – BCN PEG Digital Diagnostic</dc:title>
  <dc:creator>Dantes, Reuben</dc:creator>
  <cp:lastModifiedBy>Singh, Saurabh</cp:lastModifiedBy>
  <cp:revision>3</cp:revision>
  <cp:lastPrinted>2017-02-15T14:23:56Z</cp:lastPrinted>
  <dcterms:created xsi:type="dcterms:W3CDTF">2023-10-17T19:56:54Z</dcterms:created>
  <dcterms:modified xsi:type="dcterms:W3CDTF">2025-05-22T07:3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2DAC23EC22A947B921631DA9F0829E</vt:lpwstr>
  </property>
</Properties>
</file>